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259" r:id="rId4"/>
    <p:sldId id="258" r:id="rId5"/>
    <p:sldId id="305" r:id="rId6"/>
    <p:sldId id="274" r:id="rId7"/>
    <p:sldId id="275" r:id="rId8"/>
    <p:sldId id="311" r:id="rId9"/>
    <p:sldId id="312" r:id="rId10"/>
    <p:sldId id="271" r:id="rId11"/>
    <p:sldId id="307" r:id="rId12"/>
    <p:sldId id="308" r:id="rId13"/>
    <p:sldId id="309" r:id="rId14"/>
    <p:sldId id="313" r:id="rId15"/>
    <p:sldId id="316" r:id="rId16"/>
    <p:sldId id="314" r:id="rId17"/>
    <p:sldId id="31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328" r:id="rId29"/>
    <p:sldId id="329" r:id="rId30"/>
    <p:sldId id="331" r:id="rId31"/>
    <p:sldId id="330" r:id="rId32"/>
    <p:sldId id="332" r:id="rId3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emy Laurent" initials="JL" lastIdx="1" clrIdx="0">
    <p:extLst>
      <p:ext uri="{19B8F6BF-5375-455C-9EA6-DF929625EA0E}">
        <p15:presenceInfo xmlns:p15="http://schemas.microsoft.com/office/powerpoint/2012/main" userId="c9f22d26f59caef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357" autoAdjust="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6"/>
      <dgm:spPr/>
    </dgm:pt>
    <dgm:pt modelId="{C6674ABF-D6CA-460F-9513-36418065EBD7}" type="pres">
      <dgm:prSet presAssocID="{98F2F1A7-4A47-4E17-AB3A-363BE2C2C135}" presName="txLvl1" presStyleLbl="alignNode1" presStyleIdx="0" presStyleCnt="6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6"/>
      <dgm:spPr/>
    </dgm:pt>
    <dgm:pt modelId="{745F8DD8-E5E1-4A4E-9516-F2B9D7FCFD6F}" type="pres">
      <dgm:prSet presAssocID="{64ED7F40-5AA2-456C-83D8-70D4068E4A66}" presName="txLvl2" presStyleLbl="revTx" presStyleIdx="1" presStyleCnt="6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6"/>
      <dgm:spPr/>
    </dgm:pt>
    <dgm:pt modelId="{A94118BB-20C7-45DD-8142-C87ABB4823AA}" type="pres">
      <dgm:prSet presAssocID="{5ACF19B5-E364-4396-9C9F-0C6F6678B543}" presName="txLvl2" presStyleLbl="revTx" presStyleIdx="2" presStyleCnt="6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6"/>
      <dgm:spPr/>
    </dgm:pt>
    <dgm:pt modelId="{B1207ED9-5F09-4652-BFF5-169BE9A57372}" type="pres">
      <dgm:prSet presAssocID="{7401B0DE-61BF-4A88-BB5B-B392E0E49FB6}" presName="txLvl1" presStyleLbl="alignNode1" presStyleIdx="3" presStyleCnt="6"/>
      <dgm:spPr/>
    </dgm:pt>
    <dgm:pt modelId="{2268A8CE-8192-44A5-B183-A073ECAA38A5}" type="pres">
      <dgm:prSet presAssocID="{7401B0DE-61BF-4A88-BB5B-B392E0E49FB6}" presName="lin" presStyleCnt="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4" presStyleCnt="6"/>
      <dgm:spPr/>
    </dgm:pt>
    <dgm:pt modelId="{60A4F703-AE08-41B4-9E63-869505154997}" type="pres">
      <dgm:prSet presAssocID="{88E841CF-01DA-439D-926E-9D9BE433561D}" presName="txLvl1" presStyleLbl="alignNode1" presStyleIdx="4" presStyleCnt="6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5" presStyleCnt="6"/>
      <dgm:spPr/>
    </dgm:pt>
    <dgm:pt modelId="{B9C87496-D0F6-4B09-BFF2-A2B327A006A8}" type="pres">
      <dgm:prSet presAssocID="{03760581-3077-46CC-A047-044CCB08DE09}" presName="txLvl1" presStyleLbl="alignNode1" presStyleIdx="5" presStyleCnt="6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0"/>
      <dgm:spPr/>
    </dgm:pt>
    <dgm:pt modelId="{C6674ABF-D6CA-460F-9513-36418065EBD7}" type="pres">
      <dgm:prSet presAssocID="{98F2F1A7-4A47-4E17-AB3A-363BE2C2C135}" presName="txLvl1" presStyleLbl="alignNode1" presStyleIdx="0" presStyleCnt="10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0"/>
      <dgm:spPr/>
    </dgm:pt>
    <dgm:pt modelId="{745F8DD8-E5E1-4A4E-9516-F2B9D7FCFD6F}" type="pres">
      <dgm:prSet presAssocID="{64ED7F40-5AA2-456C-83D8-70D4068E4A66}" presName="txLvl2" presStyleLbl="revTx" presStyleIdx="1" presStyleCnt="10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0"/>
      <dgm:spPr/>
    </dgm:pt>
    <dgm:pt modelId="{A94118BB-20C7-45DD-8142-C87ABB4823AA}" type="pres">
      <dgm:prSet presAssocID="{5ACF19B5-E364-4396-9C9F-0C6F6678B543}" presName="txLvl2" presStyleLbl="revTx" presStyleIdx="2" presStyleCnt="10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0"/>
      <dgm:spPr/>
    </dgm:pt>
    <dgm:pt modelId="{B1207ED9-5F09-4652-BFF5-169BE9A57372}" type="pres">
      <dgm:prSet presAssocID="{7401B0DE-61BF-4A88-BB5B-B392E0E49FB6}" presName="txLvl1" presStyleLbl="alignNode1" presStyleIdx="3" presStyleCnt="10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0"/>
      <dgm:spPr/>
    </dgm:pt>
    <dgm:pt modelId="{03BCE79E-19A3-4D8C-960B-CA7DB00C5AE4}" type="pres">
      <dgm:prSet presAssocID="{589A1FC3-BFD8-4A0E-ADAF-6FE60C73F018}" presName="txLvl2" presStyleLbl="revTx" presStyleIdx="4" presStyleCnt="10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0"/>
      <dgm:spPr/>
    </dgm:pt>
    <dgm:pt modelId="{F1069177-A7AD-4B96-9C82-933B0EFEC5B1}" type="pres">
      <dgm:prSet presAssocID="{A3B944DE-23A4-44C1-980E-09A42B5B8860}" presName="txLvl2" presStyleLbl="revTx" presStyleIdx="5" presStyleCnt="10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0"/>
      <dgm:spPr/>
    </dgm:pt>
    <dgm:pt modelId="{D7ACFF19-40E9-428A-B4C4-0B4D2E78B3A5}" type="pres">
      <dgm:prSet presAssocID="{1D88034A-4C78-4928-BB91-7A38A6AD0A74}" presName="txLvl2" presStyleLbl="revTx" presStyleIdx="6" presStyleCnt="10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0"/>
      <dgm:spPr/>
    </dgm:pt>
    <dgm:pt modelId="{6D8D533F-6F7A-4D67-ACA6-D2CF39DF6834}" type="pres">
      <dgm:prSet presAssocID="{D6ED2971-6D42-4425-85A1-614D22BAB2E5}" presName="txLvl2" presStyleLbl="revTx" presStyleIdx="7" presStyleCnt="1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0"/>
      <dgm:spPr/>
    </dgm:pt>
    <dgm:pt modelId="{60A4F703-AE08-41B4-9E63-869505154997}" type="pres">
      <dgm:prSet presAssocID="{88E841CF-01DA-439D-926E-9D9BE433561D}" presName="txLvl1" presStyleLbl="alignNode1" presStyleIdx="8" presStyleCnt="10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9" presStyleCnt="10"/>
      <dgm:spPr/>
    </dgm:pt>
    <dgm:pt modelId="{B9C87496-D0F6-4B09-BFF2-A2B327A006A8}" type="pres">
      <dgm:prSet presAssocID="{03760581-3077-46CC-A047-044CCB08DE09}" presName="txLvl1" presStyleLbl="alignNode1" presStyleIdx="9" presStyleCnt="10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2"/>
      <dgm:spPr/>
    </dgm:pt>
    <dgm:pt modelId="{C6674ABF-D6CA-460F-9513-36418065EBD7}" type="pres">
      <dgm:prSet presAssocID="{98F2F1A7-4A47-4E17-AB3A-363BE2C2C135}" presName="txLvl1" presStyleLbl="alignNode1" presStyleIdx="0" presStyleCnt="12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2"/>
      <dgm:spPr/>
    </dgm:pt>
    <dgm:pt modelId="{745F8DD8-E5E1-4A4E-9516-F2B9D7FCFD6F}" type="pres">
      <dgm:prSet presAssocID="{64ED7F40-5AA2-456C-83D8-70D4068E4A66}" presName="txLvl2" presStyleLbl="revTx" presStyleIdx="1" presStyleCnt="12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2"/>
      <dgm:spPr/>
    </dgm:pt>
    <dgm:pt modelId="{A94118BB-20C7-45DD-8142-C87ABB4823AA}" type="pres">
      <dgm:prSet presAssocID="{5ACF19B5-E364-4396-9C9F-0C6F6678B543}" presName="txLvl2" presStyleLbl="revTx" presStyleIdx="2" presStyleCnt="12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2"/>
      <dgm:spPr/>
    </dgm:pt>
    <dgm:pt modelId="{B1207ED9-5F09-4652-BFF5-169BE9A57372}" type="pres">
      <dgm:prSet presAssocID="{7401B0DE-61BF-4A88-BB5B-B392E0E49FB6}" presName="txLvl1" presStyleLbl="alignNode1" presStyleIdx="3" presStyleCnt="12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2"/>
      <dgm:spPr/>
    </dgm:pt>
    <dgm:pt modelId="{03BCE79E-19A3-4D8C-960B-CA7DB00C5AE4}" type="pres">
      <dgm:prSet presAssocID="{589A1FC3-BFD8-4A0E-ADAF-6FE60C73F018}" presName="txLvl2" presStyleLbl="revTx" presStyleIdx="4" presStyleCnt="12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2"/>
      <dgm:spPr/>
    </dgm:pt>
    <dgm:pt modelId="{F1069177-A7AD-4B96-9C82-933B0EFEC5B1}" type="pres">
      <dgm:prSet presAssocID="{A3B944DE-23A4-44C1-980E-09A42B5B8860}" presName="txLvl2" presStyleLbl="revTx" presStyleIdx="5" presStyleCnt="12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2"/>
      <dgm:spPr/>
    </dgm:pt>
    <dgm:pt modelId="{D7ACFF19-40E9-428A-B4C4-0B4D2E78B3A5}" type="pres">
      <dgm:prSet presAssocID="{1D88034A-4C78-4928-BB91-7A38A6AD0A74}" presName="txLvl2" presStyleLbl="revTx" presStyleIdx="6" presStyleCnt="12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2"/>
      <dgm:spPr/>
    </dgm:pt>
    <dgm:pt modelId="{6D8D533F-6F7A-4D67-ACA6-D2CF39DF6834}" type="pres">
      <dgm:prSet presAssocID="{D6ED2971-6D42-4425-85A1-614D22BAB2E5}" presName="txLvl2" presStyleLbl="revTx" presStyleIdx="7" presStyleCnt="12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2"/>
      <dgm:spPr/>
    </dgm:pt>
    <dgm:pt modelId="{60A4F703-AE08-41B4-9E63-869505154997}" type="pres">
      <dgm:prSet presAssocID="{88E841CF-01DA-439D-926E-9D9BE433561D}" presName="txLvl1" presStyleLbl="alignNode1" presStyleIdx="8" presStyleCnt="12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2"/>
      <dgm:spPr/>
    </dgm:pt>
    <dgm:pt modelId="{7F4998AE-3525-4F97-8641-78BC363FDB7A}" type="pres">
      <dgm:prSet presAssocID="{13A8598E-0624-4FB9-91CD-68AE606F4216}" presName="txLvl2" presStyleLbl="revTx" presStyleIdx="9" presStyleCnt="12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2"/>
      <dgm:spPr/>
    </dgm:pt>
    <dgm:pt modelId="{A021C2CC-D719-46C8-839C-ACBC3C9F8C0D}" type="pres">
      <dgm:prSet presAssocID="{C59DC4DA-93F9-4214-A9CB-45E6CF0BD86B}" presName="txLvl2" presStyleLbl="revTx" presStyleIdx="10" presStyleCnt="12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2"/>
      <dgm:spPr/>
    </dgm:pt>
    <dgm:pt modelId="{B9C87496-D0F6-4B09-BFF2-A2B327A006A8}" type="pres">
      <dgm:prSet presAssocID="{03760581-3077-46CC-A047-044CCB08DE09}" presName="txLvl1" presStyleLbl="alignNode1" presStyleIdx="11" presStyleCnt="12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41896" y="0"/>
        <a:ext cx="2524376" cy="70560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80B40D-5563-4F84-89FE-D7F497A5505D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DDF79-E8AF-404A-9276-4E889B72CD0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817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707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7648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2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713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36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56520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33610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13255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25685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61706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39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0379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611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79804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896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4271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867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384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701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527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333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1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40CF8F-6547-4E31-B0B0-95AB087864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EA3CFEA-CB41-49BD-B8B8-CFD961AA7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3B56A73-DF85-4AEF-97A4-AD55339F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116B761-5556-4B51-BB9D-318C8A77C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783778-6F1D-49ED-88A3-49CC94AC1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841772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3FFA82-C73C-4195-BE40-315ABA445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94055DF-28F7-4E94-A181-BC8DA74E97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C156B5-A3A0-487B-B6E2-8FD45828D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372147-85C0-49DB-9CF3-473DBB531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867A07-150A-49FA-8602-8A6A231D7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40786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DA68C95-56F3-4F20-82D2-88D2DEF0D6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2478DFF-8E95-46AB-924C-483C62F6E7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FED1FB5-1BE2-4B12-B900-54E5B197E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5CE540-2274-402B-B59C-579B6F404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F9417C-C7C2-45B6-82AB-D18A42287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84459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BC74AD-252C-4748-BD97-CBD66D73B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8768679-850F-4944-9408-5E0549173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243EFF-1ED9-4C6B-A91B-003848A28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8A3F15F-F2F9-4409-8F9E-7BCEEC67E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2A4B3F-CA7B-4AD9-A450-8F5BFBAD9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841889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991834-76B3-4AE2-809B-CF5DD8D5B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C37E65-3898-4AA5-B2F5-7F7E2CDA1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A27334E-A635-4319-AD8F-B3528F046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ADA0BB-CB70-4C32-8FA5-F7FBE329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0DC27DC-E1F9-4759-A9B3-26D3A30BE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8735152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832304-16E5-4764-B9F7-88DFD6ADA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190D22F-BF91-4BF1-83BF-89AA8915B2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CE727F1-2D33-41EB-8993-BC03A65801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ACE1576-16E1-490E-8568-0B846F3E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423F9E-ADC3-47E9-9B61-BFAA7395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FCE5469-7F45-4BFB-91AE-A15E562BB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7507010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BE46B0-7F79-45B9-BFFA-939E532DA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8F1C5E-7203-4386-A100-D50F176D5A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E35E599-5363-4A7F-B7E6-A50701321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03B53C9-A1E8-43E6-B170-35F83C4370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A40C11D-A388-44AA-AE8B-0CBC10D1B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8711DD6-A65B-47B5-B4E0-16273244A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EA22D721-751B-4B15-B160-B57754DDF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A48533-F32B-4552-A87E-C8E4ED418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805606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680623-8B5C-4FA3-925D-DC32D0BD0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93E875-C7E6-4629-89D6-600A7DE60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12AD7C8-4722-4027-955E-8DD0C2F1A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92FF781-7A33-442C-8D4E-436DB1CE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02453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7EB7163-CE18-426C-9F51-C2658947C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F52516B-6464-42E9-B3E0-0DB5A8240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A62A07D-72CF-4A59-A700-4D9919073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5565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EE902C-567C-458D-9785-C6A57E38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A7A6C17-06D7-47A2-BAAC-627F544D7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CA0E2E5-D19A-4632-87B4-73AA7CF285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A5A961D-E2AF-45E8-B2DA-B782EF4E88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57E047E-F75B-4B36-A6C1-8E73EBE7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999A54E-3575-439B-AE36-0B8D1AF50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2992066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13C4B2-C2F7-4D49-AA1E-1176CEE1B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232158-D982-4975-9F96-EDFA42E721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B2EF67-2FAC-483E-AF48-5E6EF7DF12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8F00F74-8DAC-43B9-AEB1-C5F5E77FB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DCD156-0AF3-40DB-8EE3-2A36A7955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B836D99-C46E-4B77-8B07-66F0B1A52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69212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A2EE014-5ED8-4AC6-8069-980DD5353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F77A3AD-2612-44A0-8D42-98CC1ABC0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78B26B3-4133-4437-902C-76863A6EAA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256277B-7BB3-432A-9121-6BDAE4158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0CC5C1F-2545-402D-9B9E-A0A0C23D7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880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microsoft.com/office/2007/relationships/hdphoto" Target="../media/hdphoto1.wdp"/><Relationship Id="rId14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diagramLayout" Target="../diagrams/layout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diagramData" Target="../diagrams/data2.xml"/><Relationship Id="rId2" Type="http://schemas.openxmlformats.org/officeDocument/2006/relationships/tags" Target="../tags/tag7.xml"/><Relationship Id="rId16" Type="http://schemas.microsoft.com/office/2007/relationships/diagramDrawing" Target="../diagrams/drawing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png"/><Relationship Id="rId5" Type="http://schemas.openxmlformats.org/officeDocument/2006/relationships/tags" Target="../tags/tag10.xml"/><Relationship Id="rId15" Type="http://schemas.openxmlformats.org/officeDocument/2006/relationships/diagramColors" Target="../diagrams/colors2.xml"/><Relationship Id="rId10" Type="http://schemas.microsoft.com/office/2007/relationships/hdphoto" Target="../media/hdphoto1.wdp"/><Relationship Id="rId4" Type="http://schemas.openxmlformats.org/officeDocument/2006/relationships/tags" Target="../tags/tag9.xml"/><Relationship Id="rId9" Type="http://schemas.openxmlformats.org/officeDocument/2006/relationships/image" Target="../media/image1.png"/><Relationship Id="rId1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diagramData" Target="../diagrams/data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.png"/><Relationship Id="rId17" Type="http://schemas.microsoft.com/office/2007/relationships/diagramDrawing" Target="../diagrams/drawing3.xml"/><Relationship Id="rId2" Type="http://schemas.openxmlformats.org/officeDocument/2006/relationships/tags" Target="../tags/tag13.xml"/><Relationship Id="rId16" Type="http://schemas.openxmlformats.org/officeDocument/2006/relationships/diagramColors" Target="../diagrams/colors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microsoft.com/office/2007/relationships/hdphoto" Target="../media/hdphoto1.wdp"/><Relationship Id="rId5" Type="http://schemas.openxmlformats.org/officeDocument/2006/relationships/tags" Target="../tags/tag16.xml"/><Relationship Id="rId15" Type="http://schemas.openxmlformats.org/officeDocument/2006/relationships/diagramQuickStyle" Target="../diagrams/quickStyle3.xml"/><Relationship Id="rId10" Type="http://schemas.openxmlformats.org/officeDocument/2006/relationships/image" Target="../media/image1.png"/><Relationship Id="rId4" Type="http://schemas.openxmlformats.org/officeDocument/2006/relationships/tags" Target="../tags/tag15.xml"/><Relationship Id="rId9" Type="http://schemas.openxmlformats.org/officeDocument/2006/relationships/notesSlide" Target="../notesSlides/notesSlide3.xml"/><Relationship Id="rId1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microsoft.com/office/2007/relationships/hdphoto" Target="../media/hdphoto1.wdp"/><Relationship Id="rId18" Type="http://schemas.openxmlformats.org/officeDocument/2006/relationships/diagramColors" Target="../diagrams/colors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1.png"/><Relationship Id="rId17" Type="http://schemas.openxmlformats.org/officeDocument/2006/relationships/diagramQuickStyle" Target="../diagrams/quickStyle4.xml"/><Relationship Id="rId2" Type="http://schemas.openxmlformats.org/officeDocument/2006/relationships/tags" Target="../tags/tag20.xml"/><Relationship Id="rId16" Type="http://schemas.openxmlformats.org/officeDocument/2006/relationships/diagramLayout" Target="../diagrams/layout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3.xml"/><Relationship Id="rId15" Type="http://schemas.openxmlformats.org/officeDocument/2006/relationships/diagramData" Target="../diagrams/data4.xml"/><Relationship Id="rId10" Type="http://schemas.openxmlformats.org/officeDocument/2006/relationships/slideLayout" Target="../slideLayouts/slideLayout1.xml"/><Relationship Id="rId19" Type="http://schemas.microsoft.com/office/2007/relationships/diagramDrawing" Target="../diagrams/drawing4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.png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8.png"/><Relationship Id="rId4" Type="http://schemas.microsoft.com/office/2007/relationships/hdphoto" Target="../media/hdphoto1.wdp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22.jpeg"/><Relationship Id="rId5" Type="http://schemas.openxmlformats.org/officeDocument/2006/relationships/image" Target="../media/image2.png"/><Relationship Id="rId10" Type="http://schemas.openxmlformats.org/officeDocument/2006/relationships/image" Target="../media/image21.svg"/><Relationship Id="rId4" Type="http://schemas.microsoft.com/office/2007/relationships/hdphoto" Target="../media/hdphoto1.wdp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3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1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2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microsoft.com/office/2007/relationships/hdphoto" Target="../media/hdphoto1.wdp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5.xml"/><Relationship Id="rId3" Type="http://schemas.openxmlformats.org/officeDocument/2006/relationships/tags" Target="../tags/tag30.xml"/><Relationship Id="rId7" Type="http://schemas.openxmlformats.org/officeDocument/2006/relationships/notesSlide" Target="../notesSlides/notesSlide16.xml"/><Relationship Id="rId12" Type="http://schemas.openxmlformats.org/officeDocument/2006/relationships/diagramLayout" Target="../diagrams/layou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5.xml"/><Relationship Id="rId5" Type="http://schemas.openxmlformats.org/officeDocument/2006/relationships/tags" Target="../tags/tag32.xml"/><Relationship Id="rId15" Type="http://schemas.microsoft.com/office/2007/relationships/diagramDrawing" Target="../diagrams/drawing5.xml"/><Relationship Id="rId10" Type="http://schemas.openxmlformats.org/officeDocument/2006/relationships/image" Target="../media/image2.png"/><Relationship Id="rId4" Type="http://schemas.openxmlformats.org/officeDocument/2006/relationships/tags" Target="../tags/tag31.xml"/><Relationship Id="rId9" Type="http://schemas.microsoft.com/office/2007/relationships/hdphoto" Target="../media/hdphoto1.wdp"/><Relationship Id="rId14" Type="http://schemas.openxmlformats.org/officeDocument/2006/relationships/diagramColors" Target="../diagrams/colors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53.svg"/><Relationship Id="rId5" Type="http://schemas.openxmlformats.org/officeDocument/2006/relationships/image" Target="../media/image2.png"/><Relationship Id="rId10" Type="http://schemas.openxmlformats.org/officeDocument/2006/relationships/image" Target="../media/image5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53.sv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55.svg"/><Relationship Id="rId5" Type="http://schemas.openxmlformats.org/officeDocument/2006/relationships/image" Target="../media/image2.png"/><Relationship Id="rId15" Type="http://schemas.openxmlformats.org/officeDocument/2006/relationships/image" Target="../media/image57.svg"/><Relationship Id="rId10" Type="http://schemas.openxmlformats.org/officeDocument/2006/relationships/image" Target="../media/image54.png"/><Relationship Id="rId4" Type="http://schemas.microsoft.com/office/2007/relationships/hdphoto" Target="../media/hdphoto1.wdp"/><Relationship Id="rId9" Type="http://schemas.openxmlformats.org/officeDocument/2006/relationships/image" Target="../media/image11.png"/><Relationship Id="rId1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JeremyL71/ProjetTextMining" TargetMode="Externa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EF3C7EC-9C2C-470E-B566-17E72DF09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mage associÃ©e">
            <a:extLst>
              <a:ext uri="{FF2B5EF4-FFF2-40B4-BE49-F238E27FC236}">
                <a16:creationId xmlns:a16="http://schemas.microsoft.com/office/drawing/2014/main" id="{6164326C-B148-4168-AB5D-83F72413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542" y="6040073"/>
            <a:ext cx="2125458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6AB009-DBE3-4A82-9248-F28B83361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523" y="698292"/>
            <a:ext cx="1927624" cy="19276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54E4829-033B-4586-B296-1F258F0A5B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147" y="1442230"/>
            <a:ext cx="2301955" cy="2301955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6714FF87-3967-478D-A140-3DB73F67E3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342" y="698291"/>
            <a:ext cx="6416405" cy="3207371"/>
          </a:xfrm>
        </p:spPr>
        <p:txBody>
          <a:bodyPr>
            <a:normAutofit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</a:rPr>
              <a:t>Projet de création d’applications de  </a:t>
            </a:r>
            <a:br>
              <a:rPr lang="fr-FR" b="1" dirty="0">
                <a:solidFill>
                  <a:schemeClr val="bg1"/>
                </a:solidFill>
              </a:rPr>
            </a:br>
            <a:r>
              <a:rPr lang="fr-FR" b="1" dirty="0">
                <a:solidFill>
                  <a:schemeClr val="bg1"/>
                </a:solidFill>
              </a:rPr>
              <a:t>Text-mining</a:t>
            </a:r>
            <a:endParaRPr lang="fr-FR" sz="15300" dirty="0">
              <a:solidFill>
                <a:schemeClr val="bg1"/>
              </a:solidFill>
            </a:endParaRPr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6F3F366-618E-4744-B950-18425A8F5E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0112" y="4036172"/>
            <a:ext cx="10721835" cy="1711914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  <a:latin typeface="+mn-lt"/>
              </a:rPr>
              <a:t>Elèves: </a:t>
            </a:r>
            <a:r>
              <a:rPr lang="fr-FR" dirty="0">
                <a:solidFill>
                  <a:schemeClr val="bg1"/>
                </a:solidFill>
              </a:rPr>
              <a:t>Jérémy Laurent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Gérome Ferrand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Juliette Vaton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Alexandre </a:t>
            </a:r>
            <a:r>
              <a:rPr lang="fr-FR" dirty="0">
                <a:solidFill>
                  <a:schemeClr val="bg1"/>
                </a:solidFill>
              </a:rPr>
              <a:t>D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ufour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Nathan Moussu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		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                                                  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b="1" dirty="0">
                <a:solidFill>
                  <a:schemeClr val="bg1"/>
                </a:solidFill>
                <a:latin typeface="+mn-lt"/>
              </a:rPr>
              <a:t>Professeur encadreur:  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M. Vidal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BF2A195C-1BA0-4723-95EE-C2FB2CC3C719}"/>
              </a:ext>
            </a:extLst>
          </p:cNvPr>
          <p:cNvCxnSpPr/>
          <p:nvPr/>
        </p:nvCxnSpPr>
        <p:spPr>
          <a:xfrm>
            <a:off x="177342" y="3870697"/>
            <a:ext cx="8723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2120076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algn="l" eaLnBrk="0" hangingPunct="0">
              <a:buClrTx/>
              <a:buSzTx/>
              <a:buFontTx/>
              <a:buNone/>
            </a:pPr>
            <a:r>
              <a:rPr lang="fr-FR" sz="1600" b="1" dirty="0">
                <a:solidFill>
                  <a:schemeClr val="bg1"/>
                </a:solidFill>
              </a:rPr>
              <a:t>Part du temps dans le projet: 4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74960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569523" y="-107186"/>
            <a:ext cx="192784" cy="413095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902018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6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078652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3601615" y="-1155565"/>
            <a:ext cx="195818" cy="622467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</p:spTree>
    <p:extLst>
      <p:ext uri="{BB962C8B-B14F-4D97-AF65-F5344CB8AC3E}">
        <p14:creationId xmlns:p14="http://schemas.microsoft.com/office/powerpoint/2010/main" val="376110495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9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923804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434609" y="-2988560"/>
            <a:ext cx="195819" cy="989066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</p:spTree>
    <p:extLst>
      <p:ext uri="{BB962C8B-B14F-4D97-AF65-F5344CB8AC3E}">
        <p14:creationId xmlns:p14="http://schemas.microsoft.com/office/powerpoint/2010/main" val="48899256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10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925629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740810" y="-3294757"/>
            <a:ext cx="195818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1F1D4E25-F499-409F-890A-7FF75C9B6FE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  <p:sp>
        <p:nvSpPr>
          <p:cNvPr id="19" name="Controller_High">
            <a:extLst>
              <a:ext uri="{FF2B5EF4-FFF2-40B4-BE49-F238E27FC236}">
                <a16:creationId xmlns:a16="http://schemas.microsoft.com/office/drawing/2014/main" id="{27ECC0A7-A28D-48BA-B6E9-73D5D51D64F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84267" y="-3297497"/>
            <a:ext cx="195819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21705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ZoneTexte 94">
            <a:extLst>
              <a:ext uri="{FF2B5EF4-FFF2-40B4-BE49-F238E27FC236}">
                <a16:creationId xmlns:a16="http://schemas.microsoft.com/office/drawing/2014/main" id="{E1878038-329E-46C5-A624-BED33F0C0209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C42845-73D2-4BDE-8872-98AF5B0BEC39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9492BF1-415D-49BF-8EE6-C95A3DC2F7CA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98" name="Image 97">
            <a:extLst>
              <a:ext uri="{FF2B5EF4-FFF2-40B4-BE49-F238E27FC236}">
                <a16:creationId xmlns:a16="http://schemas.microsoft.com/office/drawing/2014/main" id="{21FF241A-555F-4E97-9430-69F7C26809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005" y="1556010"/>
            <a:ext cx="1117557" cy="1117557"/>
          </a:xfrm>
          <a:prstGeom prst="rect">
            <a:avLst/>
          </a:prstGeom>
        </p:spPr>
      </p:pic>
      <p:sp>
        <p:nvSpPr>
          <p:cNvPr id="99" name="ZoneTexte 98">
            <a:extLst>
              <a:ext uri="{FF2B5EF4-FFF2-40B4-BE49-F238E27FC236}">
                <a16:creationId xmlns:a16="http://schemas.microsoft.com/office/drawing/2014/main" id="{D1405B23-38BC-4D72-9484-55644AF10101}"/>
              </a:ext>
            </a:extLst>
          </p:cNvPr>
          <p:cNvSpPr txBox="1"/>
          <p:nvPr/>
        </p:nvSpPr>
        <p:spPr>
          <a:xfrm>
            <a:off x="3074902" y="2673567"/>
            <a:ext cx="1705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rpu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730BB12-DB99-420F-BF98-C93F1FCD3563}"/>
              </a:ext>
            </a:extLst>
          </p:cNvPr>
          <p:cNvSpPr/>
          <p:nvPr/>
        </p:nvSpPr>
        <p:spPr>
          <a:xfrm>
            <a:off x="2764509" y="1124772"/>
            <a:ext cx="8922512" cy="24427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id="{B105BDA4-0FC9-4D63-A5EB-3399FCCD8EC7}"/>
              </a:ext>
            </a:extLst>
          </p:cNvPr>
          <p:cNvSpPr txBox="1"/>
          <p:nvPr/>
        </p:nvSpPr>
        <p:spPr>
          <a:xfrm>
            <a:off x="9245827" y="1124772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Travail Préliminaire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E079B237-BFBD-4137-8727-514634B22E82}"/>
              </a:ext>
            </a:extLst>
          </p:cNvPr>
          <p:cNvSpPr txBox="1"/>
          <p:nvPr/>
        </p:nvSpPr>
        <p:spPr>
          <a:xfrm>
            <a:off x="9229050" y="3571678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Utilisation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04E7617-485C-46D9-A0A4-0D6303F9A3E0}"/>
              </a:ext>
            </a:extLst>
          </p:cNvPr>
          <p:cNvSpPr/>
          <p:nvPr/>
        </p:nvSpPr>
        <p:spPr>
          <a:xfrm>
            <a:off x="2764509" y="3567503"/>
            <a:ext cx="8922512" cy="22587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17" name="Connecteur droit avec flèche 116">
            <a:extLst>
              <a:ext uri="{FF2B5EF4-FFF2-40B4-BE49-F238E27FC236}">
                <a16:creationId xmlns:a16="http://schemas.microsoft.com/office/drawing/2014/main" id="{7313CAAE-1DE4-41EF-8505-96BC1FBB59A9}"/>
              </a:ext>
            </a:extLst>
          </p:cNvPr>
          <p:cNvCxnSpPr>
            <a:cxnSpLocks/>
          </p:cNvCxnSpPr>
          <p:nvPr/>
        </p:nvCxnSpPr>
        <p:spPr>
          <a:xfrm>
            <a:off x="4612299" y="2206722"/>
            <a:ext cx="855682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4E404-B5C0-486F-977A-5EF86896C4A7}"/>
              </a:ext>
            </a:extLst>
          </p:cNvPr>
          <p:cNvSpPr/>
          <p:nvPr/>
        </p:nvSpPr>
        <p:spPr>
          <a:xfrm>
            <a:off x="5467981" y="1597452"/>
            <a:ext cx="14867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ctoris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Tokenisation,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top words, lemming, stemming)</a:t>
            </a:r>
          </a:p>
        </p:txBody>
      </p:sp>
      <p:cxnSp>
        <p:nvCxnSpPr>
          <p:cNvPr id="118" name="Connecteur droit avec flèche 117">
            <a:extLst>
              <a:ext uri="{FF2B5EF4-FFF2-40B4-BE49-F238E27FC236}">
                <a16:creationId xmlns:a16="http://schemas.microsoft.com/office/drawing/2014/main" id="{02A54D65-E604-4971-81A2-4DF70BB58DB2}"/>
              </a:ext>
            </a:extLst>
          </p:cNvPr>
          <p:cNvCxnSpPr>
            <a:cxnSpLocks/>
          </p:cNvCxnSpPr>
          <p:nvPr/>
        </p:nvCxnSpPr>
        <p:spPr>
          <a:xfrm>
            <a:off x="7091710" y="2191613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DBA2B775-A565-4553-B33D-F34A2F772A15}"/>
              </a:ext>
            </a:extLst>
          </p:cNvPr>
          <p:cNvSpPr/>
          <p:nvPr/>
        </p:nvSpPr>
        <p:spPr>
          <a:xfrm>
            <a:off x="7673466" y="1899225"/>
            <a:ext cx="11381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coring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TF-IDF)</a:t>
            </a:r>
          </a:p>
        </p:txBody>
      </p:sp>
      <p:cxnSp>
        <p:nvCxnSpPr>
          <p:cNvPr id="119" name="Connecteur droit avec flèche 118">
            <a:extLst>
              <a:ext uri="{FF2B5EF4-FFF2-40B4-BE49-F238E27FC236}">
                <a16:creationId xmlns:a16="http://schemas.microsoft.com/office/drawing/2014/main" id="{8790C703-8280-4F2E-9B54-3A1AB643290F}"/>
              </a:ext>
            </a:extLst>
          </p:cNvPr>
          <p:cNvCxnSpPr>
            <a:cxnSpLocks/>
          </p:cNvCxnSpPr>
          <p:nvPr/>
        </p:nvCxnSpPr>
        <p:spPr>
          <a:xfrm flipV="1">
            <a:off x="8738152" y="2212494"/>
            <a:ext cx="792173" cy="1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20" name="Image 119">
            <a:extLst>
              <a:ext uri="{FF2B5EF4-FFF2-40B4-BE49-F238E27FC236}">
                <a16:creationId xmlns:a16="http://schemas.microsoft.com/office/drawing/2014/main" id="{D75A6A19-BB3D-4ACE-B477-5775A16FD0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1688" y="1983812"/>
            <a:ext cx="1705761" cy="1093983"/>
          </a:xfrm>
          <a:prstGeom prst="rect">
            <a:avLst/>
          </a:prstGeom>
        </p:spPr>
      </p:pic>
      <p:sp>
        <p:nvSpPr>
          <p:cNvPr id="121" name="ZoneTexte 120">
            <a:extLst>
              <a:ext uri="{FF2B5EF4-FFF2-40B4-BE49-F238E27FC236}">
                <a16:creationId xmlns:a16="http://schemas.microsoft.com/office/drawing/2014/main" id="{11178CD8-AF97-4688-9E3F-299043A69FAF}"/>
              </a:ext>
            </a:extLst>
          </p:cNvPr>
          <p:cNvSpPr txBox="1"/>
          <p:nvPr/>
        </p:nvSpPr>
        <p:spPr>
          <a:xfrm>
            <a:off x="9407433" y="1645258"/>
            <a:ext cx="2223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Matrice du corpus</a:t>
            </a:r>
          </a:p>
        </p:txBody>
      </p:sp>
      <p:cxnSp>
        <p:nvCxnSpPr>
          <p:cNvPr id="122" name="Connecteur : en angle 121">
            <a:extLst>
              <a:ext uri="{FF2B5EF4-FFF2-40B4-BE49-F238E27FC236}">
                <a16:creationId xmlns:a16="http://schemas.microsoft.com/office/drawing/2014/main" id="{769C4CCB-DF80-46C8-9717-68884910CB03}"/>
              </a:ext>
            </a:extLst>
          </p:cNvPr>
          <p:cNvCxnSpPr>
            <a:cxnSpLocks/>
            <a:stCxn id="120" idx="2"/>
            <a:endCxn id="131" idx="0"/>
          </p:cNvCxnSpPr>
          <p:nvPr/>
        </p:nvCxnSpPr>
        <p:spPr>
          <a:xfrm rot="5400000">
            <a:off x="8744002" y="2703872"/>
            <a:ext cx="1436645" cy="2184490"/>
          </a:xfrm>
          <a:prstGeom prst="bentConnector3">
            <a:avLst>
              <a:gd name="adj1" fmla="val 19052"/>
            </a:avLst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359753-D37F-4389-8F84-A5EC9198A51E}"/>
              </a:ext>
            </a:extLst>
          </p:cNvPr>
          <p:cNvSpPr/>
          <p:nvPr/>
        </p:nvSpPr>
        <p:spPr>
          <a:xfrm>
            <a:off x="2900870" y="4562300"/>
            <a:ext cx="206019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Restaurants Lyon Terreaux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D7F90726-3AB3-4A76-820C-657CE4CC0F2A}"/>
              </a:ext>
            </a:extLst>
          </p:cNvPr>
          <p:cNvSpPr txBox="1"/>
          <p:nvPr/>
        </p:nvSpPr>
        <p:spPr>
          <a:xfrm>
            <a:off x="3097968" y="5022254"/>
            <a:ext cx="1659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Requête</a:t>
            </a:r>
            <a:r>
              <a:rPr lang="fr-FR" sz="1600" dirty="0"/>
              <a:t> </a:t>
            </a:r>
            <a:r>
              <a:rPr lang="fr-FR" sz="1600" dirty="0">
                <a:solidFill>
                  <a:schemeClr val="bg1"/>
                </a:solidFill>
              </a:rPr>
              <a:t>utilisateu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816640-F9C2-420F-ACF1-570C15D27C60}"/>
              </a:ext>
            </a:extLst>
          </p:cNvPr>
          <p:cNvSpPr/>
          <p:nvPr/>
        </p:nvSpPr>
        <p:spPr>
          <a:xfrm>
            <a:off x="5501762" y="4512219"/>
            <a:ext cx="141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ectorisation</a:t>
            </a:r>
          </a:p>
        </p:txBody>
      </p:sp>
      <p:cxnSp>
        <p:nvCxnSpPr>
          <p:cNvPr id="125" name="Connecteur droit avec flèche 124">
            <a:extLst>
              <a:ext uri="{FF2B5EF4-FFF2-40B4-BE49-F238E27FC236}">
                <a16:creationId xmlns:a16="http://schemas.microsoft.com/office/drawing/2014/main" id="{47D12E71-CF65-4EEB-AA6C-06D398B90A83}"/>
              </a:ext>
            </a:extLst>
          </p:cNvPr>
          <p:cNvCxnSpPr>
            <a:cxnSpLocks/>
          </p:cNvCxnSpPr>
          <p:nvPr/>
        </p:nvCxnSpPr>
        <p:spPr>
          <a:xfrm>
            <a:off x="4961069" y="4746966"/>
            <a:ext cx="540693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8" name="Connecteur droit 127">
            <a:extLst>
              <a:ext uri="{FF2B5EF4-FFF2-40B4-BE49-F238E27FC236}">
                <a16:creationId xmlns:a16="http://schemas.microsoft.com/office/drawing/2014/main" id="{0BB07316-DB15-4ACC-B3CE-7F00CA4712DB}"/>
              </a:ext>
            </a:extLst>
          </p:cNvPr>
          <p:cNvCxnSpPr>
            <a:cxnSpLocks/>
          </p:cNvCxnSpPr>
          <p:nvPr/>
        </p:nvCxnSpPr>
        <p:spPr>
          <a:xfrm>
            <a:off x="6211347" y="2933607"/>
            <a:ext cx="0" cy="152955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A75CDD2-D89F-497A-85A0-EB4989EE18B6}"/>
              </a:ext>
            </a:extLst>
          </p:cNvPr>
          <p:cNvSpPr/>
          <p:nvPr/>
        </p:nvSpPr>
        <p:spPr>
          <a:xfrm>
            <a:off x="7209833" y="4514440"/>
            <a:ext cx="232049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alcul de la similarité</a:t>
            </a:r>
          </a:p>
          <a:p>
            <a:pPr algn="ctr"/>
            <a:r>
              <a:rPr lang="fr-FR" sz="900" dirty="0">
                <a:solidFill>
                  <a:schemeClr val="bg1"/>
                </a:solidFill>
              </a:rPr>
              <a:t>(similarité cosinus)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135" name="Connecteur droit avec flèche 134">
            <a:extLst>
              <a:ext uri="{FF2B5EF4-FFF2-40B4-BE49-F238E27FC236}">
                <a16:creationId xmlns:a16="http://schemas.microsoft.com/office/drawing/2014/main" id="{652C2342-940B-497B-A2A1-375C5B055220}"/>
              </a:ext>
            </a:extLst>
          </p:cNvPr>
          <p:cNvCxnSpPr>
            <a:cxnSpLocks/>
          </p:cNvCxnSpPr>
          <p:nvPr/>
        </p:nvCxnSpPr>
        <p:spPr>
          <a:xfrm>
            <a:off x="6924510" y="4733045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Connecteur droit avec flèche 135">
            <a:extLst>
              <a:ext uri="{FF2B5EF4-FFF2-40B4-BE49-F238E27FC236}">
                <a16:creationId xmlns:a16="http://schemas.microsoft.com/office/drawing/2014/main" id="{6A9DCAF5-775D-47BD-8454-06654E9CF862}"/>
              </a:ext>
            </a:extLst>
          </p:cNvPr>
          <p:cNvCxnSpPr>
            <a:cxnSpLocks/>
          </p:cNvCxnSpPr>
          <p:nvPr/>
        </p:nvCxnSpPr>
        <p:spPr>
          <a:xfrm flipV="1">
            <a:off x="9406393" y="4696884"/>
            <a:ext cx="692312" cy="3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B271C880-0C1F-41B4-BC35-1F248A2FBB09}"/>
              </a:ext>
            </a:extLst>
          </p:cNvPr>
          <p:cNvSpPr txBox="1"/>
          <p:nvPr/>
        </p:nvSpPr>
        <p:spPr>
          <a:xfrm>
            <a:off x="9843678" y="5108234"/>
            <a:ext cx="1843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liste des meilleures correspondances</a:t>
            </a:r>
          </a:p>
        </p:txBody>
      </p:sp>
      <p:pic>
        <p:nvPicPr>
          <p:cNvPr id="140" name="Graphique 139" descr="Liste">
            <a:extLst>
              <a:ext uri="{FF2B5EF4-FFF2-40B4-BE49-F238E27FC236}">
                <a16:creationId xmlns:a16="http://schemas.microsoft.com/office/drawing/2014/main" id="{8C360E13-4BD6-4008-BDD8-67E11AE7C2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01819" y="4171777"/>
            <a:ext cx="914400" cy="914400"/>
          </a:xfrm>
          <a:prstGeom prst="rect">
            <a:avLst/>
          </a:prstGeom>
        </p:spPr>
      </p:pic>
      <p:pic>
        <p:nvPicPr>
          <p:cNvPr id="143" name="Image 142">
            <a:extLst>
              <a:ext uri="{FF2B5EF4-FFF2-40B4-BE49-F238E27FC236}">
                <a16:creationId xmlns:a16="http://schemas.microsoft.com/office/drawing/2014/main" id="{7DAB1EE8-A39B-40AB-9AC5-6566EC85EC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41028" y="5871456"/>
            <a:ext cx="666597" cy="670792"/>
          </a:xfrm>
          <a:prstGeom prst="rect">
            <a:avLst/>
          </a:prstGeom>
        </p:spPr>
      </p:pic>
      <p:sp>
        <p:nvSpPr>
          <p:cNvPr id="144" name="ZoneTexte 143">
            <a:extLst>
              <a:ext uri="{FF2B5EF4-FFF2-40B4-BE49-F238E27FC236}">
                <a16:creationId xmlns:a16="http://schemas.microsoft.com/office/drawing/2014/main" id="{5FE0E162-2A06-4F37-8E5A-5AD951AC3620}"/>
              </a:ext>
            </a:extLst>
          </p:cNvPr>
          <p:cNvSpPr txBox="1"/>
          <p:nvPr/>
        </p:nvSpPr>
        <p:spPr>
          <a:xfrm>
            <a:off x="2248415" y="5965044"/>
            <a:ext cx="2505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</p:spTree>
    <p:extLst>
      <p:ext uri="{BB962C8B-B14F-4D97-AF65-F5344CB8AC3E}">
        <p14:creationId xmlns:p14="http://schemas.microsoft.com/office/powerpoint/2010/main" val="1535373731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8" name="Picture 8" descr="Image associÃ©e">
            <a:extLst>
              <a:ext uri="{FF2B5EF4-FFF2-40B4-BE49-F238E27FC236}">
                <a16:creationId xmlns:a16="http://schemas.microsoft.com/office/drawing/2014/main" id="{5962E2A6-22AD-4A48-9303-4F6B98E2B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B254DCC-DE79-4379-9E44-540FAAC34C1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B712C5-2E85-4485-B485-31191A0DCFE1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0161E5-5386-4D21-B14A-2552D4E87E89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B430C1A1-8919-48E9-916E-274171C949BE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Formules utilisées 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/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TF-IDF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36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tfIdf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+</m:t>
                        </m:r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𝑁𝑇</m:t>
                        </m:r>
                      </m:num>
                      <m:den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𝑛𝑡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blipFill>
                <a:blip r:embed="rId6"/>
                <a:stretch>
                  <a:fillRect l="-863" b="-516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/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Similarity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begChr m:val="⟨"/>
                            <m:endChr m:val="⟩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</m:d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 ∗ </m:t>
                        </m:r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fr-FR" sz="36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32212885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68" name="Image 9">
            <a:extLst>
              <a:ext uri="{FF2B5EF4-FFF2-40B4-BE49-F238E27FC236}">
                <a16:creationId xmlns:a16="http://schemas.microsoft.com/office/drawing/2014/main" id="{B6939DF9-1B16-4EB1-9823-B798B9A353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098" y="2752100"/>
            <a:ext cx="6667503" cy="342900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3519569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pic>
        <p:nvPicPr>
          <p:cNvPr id="3" name="Graphique 2" descr="Visage souriant sans remplissage">
            <a:extLst>
              <a:ext uri="{FF2B5EF4-FFF2-40B4-BE49-F238E27FC236}">
                <a16:creationId xmlns:a16="http://schemas.microsoft.com/office/drawing/2014/main" id="{8C642973-2BD7-4C25-B453-36BE9A6E6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15500" y="2793842"/>
            <a:ext cx="914400" cy="914400"/>
          </a:xfrm>
          <a:prstGeom prst="rect">
            <a:avLst/>
          </a:prstGeom>
        </p:spPr>
      </p:pic>
      <p:pic>
        <p:nvPicPr>
          <p:cNvPr id="5" name="Graphique 4" descr="Visage en colère sans remplissage">
            <a:extLst>
              <a:ext uri="{FF2B5EF4-FFF2-40B4-BE49-F238E27FC236}">
                <a16:creationId xmlns:a16="http://schemas.microsoft.com/office/drawing/2014/main" id="{DAFFED42-C839-4913-9199-E3F580AC74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5500" y="4266231"/>
            <a:ext cx="914400" cy="9144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F9D2AF9-605B-4B91-8C17-A19ABB20E339}"/>
              </a:ext>
            </a:extLst>
          </p:cNvPr>
          <p:cNvSpPr txBox="1"/>
          <p:nvPr/>
        </p:nvSpPr>
        <p:spPr>
          <a:xfrm>
            <a:off x="8234620" y="3617904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réciation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1C9F0A4-0009-4393-AEA9-D39729E00FB0}"/>
              </a:ext>
            </a:extLst>
          </p:cNvPr>
          <p:cNvSpPr txBox="1"/>
          <p:nvPr/>
        </p:nvSpPr>
        <p:spPr>
          <a:xfrm>
            <a:off x="8234620" y="5078719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ritique</a:t>
            </a:r>
          </a:p>
        </p:txBody>
      </p:sp>
      <p:cxnSp>
        <p:nvCxnSpPr>
          <p:cNvPr id="7" name="Connecteur : en arc 6">
            <a:extLst>
              <a:ext uri="{FF2B5EF4-FFF2-40B4-BE49-F238E27FC236}">
                <a16:creationId xmlns:a16="http://schemas.microsoft.com/office/drawing/2014/main" id="{FD510DCD-EF68-4B63-B41E-7509FE101F67}"/>
              </a:ext>
            </a:extLst>
          </p:cNvPr>
          <p:cNvCxnSpPr/>
          <p:nvPr/>
        </p:nvCxnSpPr>
        <p:spPr>
          <a:xfrm flipV="1">
            <a:off x="7593469" y="3241288"/>
            <a:ext cx="1322031" cy="918716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28">
            <a:extLst>
              <a:ext uri="{FF2B5EF4-FFF2-40B4-BE49-F238E27FC236}">
                <a16:creationId xmlns:a16="http://schemas.microsoft.com/office/drawing/2014/main" id="{E1F0C0C2-755E-4662-89E7-CEFD5E724B4A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7593469" y="4160004"/>
            <a:ext cx="1322031" cy="563427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Ã©sultat de recherche d'images pour &quot;tweet donald trump&quot;">
            <a:extLst>
              <a:ext uri="{FF2B5EF4-FFF2-40B4-BE49-F238E27FC236}">
                <a16:creationId xmlns:a16="http://schemas.microsoft.com/office/drawing/2014/main" id="{86312666-D9E6-4C03-900A-81F5DBFF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942" y="2758054"/>
            <a:ext cx="4437777" cy="256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141339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pic>
        <p:nvPicPr>
          <p:cNvPr id="4098" name="Picture 2" descr="RÃ©sultat de recherche d'images pour &quot;spam message&quot;">
            <a:extLst>
              <a:ext uri="{FF2B5EF4-FFF2-40B4-BE49-F238E27FC236}">
                <a16:creationId xmlns:a16="http://schemas.microsoft.com/office/drawing/2014/main" id="{14D05A71-7B03-4028-B8CF-2F4E27A5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572" y="2081200"/>
            <a:ext cx="4467138" cy="407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que 20" descr="Enveloppe">
            <a:extLst>
              <a:ext uri="{FF2B5EF4-FFF2-40B4-BE49-F238E27FC236}">
                <a16:creationId xmlns:a16="http://schemas.microsoft.com/office/drawing/2014/main" id="{48F3BE92-FB50-4543-A6C5-D27D930D53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2387703"/>
            <a:ext cx="1581577" cy="1581577"/>
          </a:xfrm>
          <a:prstGeom prst="rect">
            <a:avLst/>
          </a:prstGeom>
        </p:spPr>
      </p:pic>
      <p:pic>
        <p:nvPicPr>
          <p:cNvPr id="24" name="Graphique 23" descr="Enveloppe">
            <a:extLst>
              <a:ext uri="{FF2B5EF4-FFF2-40B4-BE49-F238E27FC236}">
                <a16:creationId xmlns:a16="http://schemas.microsoft.com/office/drawing/2014/main" id="{DB647308-51C7-4EA3-965B-514795B9AD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4218559"/>
            <a:ext cx="1581577" cy="1581577"/>
          </a:xfrm>
          <a:prstGeom prst="rect">
            <a:avLst/>
          </a:prstGeom>
        </p:spPr>
      </p:pic>
      <p:sp>
        <p:nvSpPr>
          <p:cNvPr id="2" name="Interdiction 1">
            <a:extLst>
              <a:ext uri="{FF2B5EF4-FFF2-40B4-BE49-F238E27FC236}">
                <a16:creationId xmlns:a16="http://schemas.microsoft.com/office/drawing/2014/main" id="{BD9074FD-0084-49DC-A0A5-607CFDCF3448}"/>
              </a:ext>
            </a:extLst>
          </p:cNvPr>
          <p:cNvSpPr/>
          <p:nvPr/>
        </p:nvSpPr>
        <p:spPr>
          <a:xfrm>
            <a:off x="8789813" y="4266855"/>
            <a:ext cx="1691698" cy="1484984"/>
          </a:xfrm>
          <a:prstGeom prst="noSmoking">
            <a:avLst>
              <a:gd name="adj" fmla="val 6836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A379A1B-22B2-48A9-B4C0-82194F8A98B1}"/>
              </a:ext>
            </a:extLst>
          </p:cNvPr>
          <p:cNvSpPr txBox="1"/>
          <p:nvPr/>
        </p:nvSpPr>
        <p:spPr>
          <a:xfrm>
            <a:off x="8500459" y="3664635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essage normal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CCDC52E-75E5-42D7-9A79-1BFB7374ABD3}"/>
              </a:ext>
            </a:extLst>
          </p:cNvPr>
          <p:cNvSpPr txBox="1"/>
          <p:nvPr/>
        </p:nvSpPr>
        <p:spPr>
          <a:xfrm>
            <a:off x="8497582" y="5848432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PAM</a:t>
            </a:r>
          </a:p>
        </p:txBody>
      </p:sp>
      <p:cxnSp>
        <p:nvCxnSpPr>
          <p:cNvPr id="27" name="Connecteur : en arc 26">
            <a:extLst>
              <a:ext uri="{FF2B5EF4-FFF2-40B4-BE49-F238E27FC236}">
                <a16:creationId xmlns:a16="http://schemas.microsoft.com/office/drawing/2014/main" id="{6237C743-EABB-4382-A3DE-FDDE355C39E9}"/>
              </a:ext>
            </a:extLst>
          </p:cNvPr>
          <p:cNvCxnSpPr>
            <a:cxnSpLocks/>
          </p:cNvCxnSpPr>
          <p:nvPr/>
        </p:nvCxnSpPr>
        <p:spPr>
          <a:xfrm flipV="1">
            <a:off x="7322710" y="3178491"/>
            <a:ext cx="1335734" cy="852058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 : en arc 27">
            <a:extLst>
              <a:ext uri="{FF2B5EF4-FFF2-40B4-BE49-F238E27FC236}">
                <a16:creationId xmlns:a16="http://schemas.microsoft.com/office/drawing/2014/main" id="{AECDBAA1-CBEB-43A7-B657-0D2382DB004E}"/>
              </a:ext>
            </a:extLst>
          </p:cNvPr>
          <p:cNvCxnSpPr>
            <a:cxnSpLocks/>
          </p:cNvCxnSpPr>
          <p:nvPr/>
        </p:nvCxnSpPr>
        <p:spPr>
          <a:xfrm>
            <a:off x="7322710" y="4121809"/>
            <a:ext cx="1385062" cy="939373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814958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sp>
        <p:nvSpPr>
          <p:cNvPr id="63" name="ZoneTexte 62">
            <a:extLst>
              <a:ext uri="{FF2B5EF4-FFF2-40B4-BE49-F238E27FC236}">
                <a16:creationId xmlns:a16="http://schemas.microsoft.com/office/drawing/2014/main" id="{7F504D53-E785-495F-929C-11C91298386B}"/>
              </a:ext>
            </a:extLst>
          </p:cNvPr>
          <p:cNvSpPr txBox="1"/>
          <p:nvPr/>
        </p:nvSpPr>
        <p:spPr>
          <a:xfrm>
            <a:off x="2551636" y="3241288"/>
            <a:ext cx="720071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Corpu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de doc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labélisés</a:t>
            </a:r>
          </a:p>
        </p:txBody>
      </p:sp>
      <p:pic>
        <p:nvPicPr>
          <p:cNvPr id="64" name="Image 9">
            <a:extLst>
              <a:ext uri="{FF2B5EF4-FFF2-40B4-BE49-F238E27FC236}">
                <a16:creationId xmlns:a16="http://schemas.microsoft.com/office/drawing/2014/main" id="{4E57FA85-FC90-404D-8A65-457FF15CF9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2776" y="3943566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65" name="Connecteur droit avec flèche 26">
            <a:extLst>
              <a:ext uri="{FF2B5EF4-FFF2-40B4-BE49-F238E27FC236}">
                <a16:creationId xmlns:a16="http://schemas.microsoft.com/office/drawing/2014/main" id="{FFEDBE15-415D-48C9-BD2A-3BC8F41C78DE}"/>
              </a:ext>
            </a:extLst>
          </p:cNvPr>
          <p:cNvCxnSpPr>
            <a:cxnSpLocks/>
          </p:cNvCxnSpPr>
          <p:nvPr/>
        </p:nvCxnSpPr>
        <p:spPr>
          <a:xfrm flipV="1">
            <a:off x="3427138" y="3791824"/>
            <a:ext cx="918981" cy="38926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66" name="Connecteur droit avec flèche 30">
            <a:extLst>
              <a:ext uri="{FF2B5EF4-FFF2-40B4-BE49-F238E27FC236}">
                <a16:creationId xmlns:a16="http://schemas.microsoft.com/office/drawing/2014/main" id="{C0D8F1C3-F3CD-4F8B-B920-0784C759B4D1}"/>
              </a:ext>
            </a:extLst>
          </p:cNvPr>
          <p:cNvCxnSpPr/>
          <p:nvPr/>
        </p:nvCxnSpPr>
        <p:spPr>
          <a:xfrm>
            <a:off x="3436149" y="4657908"/>
            <a:ext cx="918981" cy="538398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67" name="ZoneTexte 5">
            <a:extLst>
              <a:ext uri="{FF2B5EF4-FFF2-40B4-BE49-F238E27FC236}">
                <a16:creationId xmlns:a16="http://schemas.microsoft.com/office/drawing/2014/main" id="{CDB53F67-1CD7-4744-9099-A9C57E4D011F}"/>
              </a:ext>
            </a:extLst>
          </p:cNvPr>
          <p:cNvSpPr txBox="1"/>
          <p:nvPr/>
        </p:nvSpPr>
        <p:spPr>
          <a:xfrm>
            <a:off x="4446794" y="5551418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« Test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20%</a:t>
            </a:r>
          </a:p>
        </p:txBody>
      </p:sp>
      <p:sp>
        <p:nvSpPr>
          <p:cNvPr id="68" name="ZoneTexte 6">
            <a:extLst>
              <a:ext uri="{FF2B5EF4-FFF2-40B4-BE49-F238E27FC236}">
                <a16:creationId xmlns:a16="http://schemas.microsoft.com/office/drawing/2014/main" id="{C3EA1BBA-D6EE-4324-9EEC-2CA2CDA51694}"/>
              </a:ext>
            </a:extLst>
          </p:cNvPr>
          <p:cNvSpPr txBox="1"/>
          <p:nvPr/>
        </p:nvSpPr>
        <p:spPr>
          <a:xfrm>
            <a:off x="4446291" y="2604299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« Train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80%</a:t>
            </a:r>
          </a:p>
        </p:txBody>
      </p:sp>
      <p:pic>
        <p:nvPicPr>
          <p:cNvPr id="69" name="Image 10">
            <a:extLst>
              <a:ext uri="{FF2B5EF4-FFF2-40B4-BE49-F238E27FC236}">
                <a16:creationId xmlns:a16="http://schemas.microsoft.com/office/drawing/2014/main" id="{8514F91E-81DE-45F7-BD2D-6A0125B476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4806840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0" name="Image 11">
            <a:extLst>
              <a:ext uri="{FF2B5EF4-FFF2-40B4-BE49-F238E27FC236}">
                <a16:creationId xmlns:a16="http://schemas.microsoft.com/office/drawing/2014/main" id="{7BCCD243-573B-4745-89DB-778CDFCE7E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3241288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73" name="Connecteur droit avec flèche 34">
            <a:extLst>
              <a:ext uri="{FF2B5EF4-FFF2-40B4-BE49-F238E27FC236}">
                <a16:creationId xmlns:a16="http://schemas.microsoft.com/office/drawing/2014/main" id="{8EB795F0-0C38-4C0E-AA23-09A4FF9AED62}"/>
              </a:ext>
            </a:extLst>
          </p:cNvPr>
          <p:cNvCxnSpPr>
            <a:cxnSpLocks/>
          </p:cNvCxnSpPr>
          <p:nvPr/>
        </p:nvCxnSpPr>
        <p:spPr>
          <a:xfrm>
            <a:off x="5453469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74" name="Connecteur droit avec flèche 37">
            <a:extLst>
              <a:ext uri="{FF2B5EF4-FFF2-40B4-BE49-F238E27FC236}">
                <a16:creationId xmlns:a16="http://schemas.microsoft.com/office/drawing/2014/main" id="{23E0B769-0C15-4A2F-A14F-27F469D45B1C}"/>
              </a:ext>
            </a:extLst>
          </p:cNvPr>
          <p:cNvCxnSpPr>
            <a:cxnSpLocks/>
          </p:cNvCxnSpPr>
          <p:nvPr/>
        </p:nvCxnSpPr>
        <p:spPr>
          <a:xfrm>
            <a:off x="5453469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75" name="Image 9">
            <a:extLst>
              <a:ext uri="{FF2B5EF4-FFF2-40B4-BE49-F238E27FC236}">
                <a16:creationId xmlns:a16="http://schemas.microsoft.com/office/drawing/2014/main" id="{78937F8C-7F2B-4C5D-9DA1-6A8ADE8505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3184549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6" name="ZoneTexte 12">
            <a:extLst>
              <a:ext uri="{FF2B5EF4-FFF2-40B4-BE49-F238E27FC236}">
                <a16:creationId xmlns:a16="http://schemas.microsoft.com/office/drawing/2014/main" id="{FEEE6D3A-7710-482A-91F1-5193953F633F}"/>
              </a:ext>
            </a:extLst>
          </p:cNvPr>
          <p:cNvSpPr txBox="1"/>
          <p:nvPr/>
        </p:nvSpPr>
        <p:spPr>
          <a:xfrm>
            <a:off x="5994755" y="2664847"/>
            <a:ext cx="1482843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</p:txBody>
      </p:sp>
      <p:pic>
        <p:nvPicPr>
          <p:cNvPr id="77" name="Image 9">
            <a:extLst>
              <a:ext uri="{FF2B5EF4-FFF2-40B4-BE49-F238E27FC236}">
                <a16:creationId xmlns:a16="http://schemas.microsoft.com/office/drawing/2014/main" id="{F73908AA-CA8C-4277-A6E4-387C206735E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528751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8" name="ZoneTexte 16">
            <a:extLst>
              <a:ext uri="{FF2B5EF4-FFF2-40B4-BE49-F238E27FC236}">
                <a16:creationId xmlns:a16="http://schemas.microsoft.com/office/drawing/2014/main" id="{A08AEC1E-EB35-4C1F-857E-4C8746CA23FC}"/>
              </a:ext>
            </a:extLst>
          </p:cNvPr>
          <p:cNvSpPr txBox="1"/>
          <p:nvPr/>
        </p:nvSpPr>
        <p:spPr>
          <a:xfrm>
            <a:off x="5849680" y="6159605"/>
            <a:ext cx="1810327" cy="6463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(Sans label)</a:t>
            </a:r>
          </a:p>
        </p:txBody>
      </p:sp>
      <p:cxnSp>
        <p:nvCxnSpPr>
          <p:cNvPr id="79" name="Connecteur droit avec flèche 34">
            <a:extLst>
              <a:ext uri="{FF2B5EF4-FFF2-40B4-BE49-F238E27FC236}">
                <a16:creationId xmlns:a16="http://schemas.microsoft.com/office/drawing/2014/main" id="{959BFE73-F4F1-49E3-B8A9-30DEFFB95E60}"/>
              </a:ext>
            </a:extLst>
          </p:cNvPr>
          <p:cNvCxnSpPr>
            <a:cxnSpLocks/>
          </p:cNvCxnSpPr>
          <p:nvPr/>
        </p:nvCxnSpPr>
        <p:spPr>
          <a:xfrm>
            <a:off x="7477598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80" name="Connecteur droit avec flèche 37">
            <a:extLst>
              <a:ext uri="{FF2B5EF4-FFF2-40B4-BE49-F238E27FC236}">
                <a16:creationId xmlns:a16="http://schemas.microsoft.com/office/drawing/2014/main" id="{8EF56B28-3959-4965-B900-9E60EE01ED6A}"/>
              </a:ext>
            </a:extLst>
          </p:cNvPr>
          <p:cNvCxnSpPr>
            <a:cxnSpLocks/>
          </p:cNvCxnSpPr>
          <p:nvPr/>
        </p:nvCxnSpPr>
        <p:spPr>
          <a:xfrm>
            <a:off x="7477598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/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𝒇</m:t>
                    </m:r>
                    <m:d>
                      <m:dPr>
                        <m:ctrlP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</m:d>
                    <m:r>
                      <a:rPr lang="fr-FR" b="0" i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fr-FR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𝒀</m:t>
                    </m:r>
                  </m:oMath>
                </a14:m>
                <a:r>
                  <a:rPr lang="fr-FR" sz="2000" b="1" i="0" u="none" strike="noStrike" kern="1200" cap="none" spc="0" baseline="0" dirty="0">
                    <a:solidFill>
                      <a:srgbClr val="FF0000"/>
                    </a:solidFill>
                    <a:uFillTx/>
                    <a:latin typeface="Calibri"/>
                  </a:rPr>
                  <a:t> </a:t>
                </a:r>
              </a:p>
            </p:txBody>
          </p:sp>
        </mc:Choice>
        <mc:Fallback xmlns="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blipFill>
                <a:blip r:embed="rId11"/>
                <a:stretch>
                  <a:fillRect l="-10465" b="-27451"/>
                </a:stretch>
              </a:blipFill>
              <a:ln cap="flat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ZoneTexte 14">
            <a:extLst>
              <a:ext uri="{FF2B5EF4-FFF2-40B4-BE49-F238E27FC236}">
                <a16:creationId xmlns:a16="http://schemas.microsoft.com/office/drawing/2014/main" id="{D1B2AE5C-C6D6-4D78-B63B-4C85CCF1DD02}"/>
              </a:ext>
            </a:extLst>
          </p:cNvPr>
          <p:cNvSpPr txBox="1"/>
          <p:nvPr/>
        </p:nvSpPr>
        <p:spPr>
          <a:xfrm>
            <a:off x="8172958" y="2905021"/>
            <a:ext cx="1585027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Apprentissage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</a:t>
            </a:r>
            <a:r>
              <a:rPr lang="fr-FR" sz="12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modèle</a:t>
            </a:r>
          </a:p>
        </p:txBody>
      </p:sp>
      <p:pic>
        <p:nvPicPr>
          <p:cNvPr id="83" name="Image 17">
            <a:extLst>
              <a:ext uri="{FF2B5EF4-FFF2-40B4-BE49-F238E27FC236}">
                <a16:creationId xmlns:a16="http://schemas.microsoft.com/office/drawing/2014/main" id="{AC5B2551-CFDD-49B0-9B26-2206FB16DAF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5757" t="64691" r="60417" b="24880"/>
          <a:stretch>
            <a:fillRect/>
          </a:stretch>
        </p:blipFill>
        <p:spPr>
          <a:xfrm>
            <a:off x="8244456" y="5389746"/>
            <a:ext cx="1523362" cy="6463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4" name="ZoneTexte 18">
            <a:extLst>
              <a:ext uri="{FF2B5EF4-FFF2-40B4-BE49-F238E27FC236}">
                <a16:creationId xmlns:a16="http://schemas.microsoft.com/office/drawing/2014/main" id="{86E45999-885B-4EB4-8B49-1D1F235360ED}"/>
              </a:ext>
            </a:extLst>
          </p:cNvPr>
          <p:cNvSpPr txBox="1"/>
          <p:nvPr/>
        </p:nvSpPr>
        <p:spPr>
          <a:xfrm>
            <a:off x="8172958" y="6159605"/>
            <a:ext cx="1655710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valuation d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la crédibilité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 modèle</a:t>
            </a:r>
          </a:p>
        </p:txBody>
      </p:sp>
      <p:cxnSp>
        <p:nvCxnSpPr>
          <p:cNvPr id="85" name="Connecteur droit avec flèche 52">
            <a:extLst>
              <a:ext uri="{FF2B5EF4-FFF2-40B4-BE49-F238E27FC236}">
                <a16:creationId xmlns:a16="http://schemas.microsoft.com/office/drawing/2014/main" id="{519596C1-09D4-4957-AE0B-24C7963E826A}"/>
              </a:ext>
            </a:extLst>
          </p:cNvPr>
          <p:cNvCxnSpPr/>
          <p:nvPr/>
        </p:nvCxnSpPr>
        <p:spPr>
          <a:xfrm>
            <a:off x="8974010" y="3904550"/>
            <a:ext cx="0" cy="128202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86" name="ZoneTexte 19">
            <a:extLst>
              <a:ext uri="{FF2B5EF4-FFF2-40B4-BE49-F238E27FC236}">
                <a16:creationId xmlns:a16="http://schemas.microsoft.com/office/drawing/2014/main" id="{7C9D5F3F-A3AE-42D6-A876-E3992E2A77E0}"/>
              </a:ext>
            </a:extLst>
          </p:cNvPr>
          <p:cNvSpPr txBox="1"/>
          <p:nvPr/>
        </p:nvSpPr>
        <p:spPr>
          <a:xfrm>
            <a:off x="11286521" y="2520374"/>
            <a:ext cx="811566" cy="461662"/>
          </a:xfrm>
          <a:prstGeom prst="rect">
            <a:avLst/>
          </a:prstGeom>
          <a:noFill/>
          <a:ln w="57150" cap="flat">
            <a:solidFill>
              <a:srgbClr val="000000"/>
            </a:solidFill>
            <a:prstDash val="solid"/>
            <a:miter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Nouveaux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inputs</a:t>
            </a:r>
          </a:p>
        </p:txBody>
      </p:sp>
      <p:pic>
        <p:nvPicPr>
          <p:cNvPr id="88" name="Image 20">
            <a:extLst>
              <a:ext uri="{FF2B5EF4-FFF2-40B4-BE49-F238E27FC236}">
                <a16:creationId xmlns:a16="http://schemas.microsoft.com/office/drawing/2014/main" id="{29A7BCF8-D7D9-4959-997A-1C547A9F77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8037" y="2342839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89" name="Connecteur droit avec flèche 40">
            <a:extLst>
              <a:ext uri="{FF2B5EF4-FFF2-40B4-BE49-F238E27FC236}">
                <a16:creationId xmlns:a16="http://schemas.microsoft.com/office/drawing/2014/main" id="{B18BE36E-FB1E-49D4-9BB7-B0E53E9F3283}"/>
              </a:ext>
            </a:extLst>
          </p:cNvPr>
          <p:cNvCxnSpPr>
            <a:cxnSpLocks/>
          </p:cNvCxnSpPr>
          <p:nvPr/>
        </p:nvCxnSpPr>
        <p:spPr>
          <a:xfrm>
            <a:off x="10950797" y="3126512"/>
            <a:ext cx="0" cy="27190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0" name="Image 9">
            <a:extLst>
              <a:ext uri="{FF2B5EF4-FFF2-40B4-BE49-F238E27FC236}">
                <a16:creationId xmlns:a16="http://schemas.microsoft.com/office/drawing/2014/main" id="{31A1BBBB-C236-4A09-8CA5-E7623DEBD6C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10397481" y="344597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91" name="Connecteur droit avec flèche 44">
            <a:extLst>
              <a:ext uri="{FF2B5EF4-FFF2-40B4-BE49-F238E27FC236}">
                <a16:creationId xmlns:a16="http://schemas.microsoft.com/office/drawing/2014/main" id="{66940633-9D3E-46E4-9D36-780467458574}"/>
              </a:ext>
            </a:extLst>
          </p:cNvPr>
          <p:cNvCxnSpPr>
            <a:cxnSpLocks/>
          </p:cNvCxnSpPr>
          <p:nvPr/>
        </p:nvCxnSpPr>
        <p:spPr>
          <a:xfrm flipH="1">
            <a:off x="10952999" y="4478255"/>
            <a:ext cx="13609" cy="324825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92" name="Connecteur droit avec flèche 46">
            <a:extLst>
              <a:ext uri="{FF2B5EF4-FFF2-40B4-BE49-F238E27FC236}">
                <a16:creationId xmlns:a16="http://schemas.microsoft.com/office/drawing/2014/main" id="{7609AABB-5F1B-4B0D-A1A7-08B7AC996EA3}"/>
              </a:ext>
            </a:extLst>
          </p:cNvPr>
          <p:cNvCxnSpPr>
            <a:cxnSpLocks/>
          </p:cNvCxnSpPr>
          <p:nvPr/>
        </p:nvCxnSpPr>
        <p:spPr>
          <a:xfrm>
            <a:off x="9310974" y="3887622"/>
            <a:ext cx="985173" cy="1029889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3" name="Image 48">
            <a:extLst>
              <a:ext uri="{FF2B5EF4-FFF2-40B4-BE49-F238E27FC236}">
                <a16:creationId xmlns:a16="http://schemas.microsoft.com/office/drawing/2014/main" id="{BBDB50C2-975F-4199-A6B5-653F6B735D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1412" y="4810380"/>
            <a:ext cx="1290392" cy="129039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4" name="ZoneTexte 50">
            <a:extLst>
              <a:ext uri="{FF2B5EF4-FFF2-40B4-BE49-F238E27FC236}">
                <a16:creationId xmlns:a16="http://schemas.microsoft.com/office/drawing/2014/main" id="{DE359873-03E8-414A-8F08-9AA10FC13259}"/>
              </a:ext>
            </a:extLst>
          </p:cNvPr>
          <p:cNvSpPr txBox="1"/>
          <p:nvPr/>
        </p:nvSpPr>
        <p:spPr>
          <a:xfrm>
            <a:off x="11408362" y="5195638"/>
            <a:ext cx="771241" cy="46166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Texte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étiquetés</a:t>
            </a:r>
          </a:p>
        </p:txBody>
      </p:sp>
    </p:spTree>
    <p:extLst>
      <p:ext uri="{BB962C8B-B14F-4D97-AF65-F5344CB8AC3E}">
        <p14:creationId xmlns:p14="http://schemas.microsoft.com/office/powerpoint/2010/main" val="9400802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7" grpId="0"/>
      <p:bldP spid="68" grpId="0"/>
      <p:bldP spid="76" grpId="0"/>
      <p:bldP spid="78" grpId="0"/>
      <p:bldP spid="81" grpId="0"/>
      <p:bldP spid="82" grpId="0"/>
      <p:bldP spid="84" grpId="0"/>
      <p:bldP spid="86" grpId="0" animBg="1"/>
      <p:bldP spid="9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1067072" y="1530897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977354" y="1438136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CA9BCBD-FF07-4A26-BB45-E1EF158A9E76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353C809-0DB4-4195-AB4B-3B565443A1CB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3C5A7-3292-4F8B-842E-C9C97C43BE51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156098846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Outils utilisés:</a:t>
            </a:r>
          </a:p>
        </p:txBody>
      </p:sp>
      <p:pic>
        <p:nvPicPr>
          <p:cNvPr id="5122" name="Picture 2" descr="RÃ©sultat de recherche d'images pour &quot;sklearn&quot;">
            <a:extLst>
              <a:ext uri="{FF2B5EF4-FFF2-40B4-BE49-F238E27FC236}">
                <a16:creationId xmlns:a16="http://schemas.microsoft.com/office/drawing/2014/main" id="{DC4ABBCE-B265-448A-A172-8E657091C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545" y="2497161"/>
            <a:ext cx="1604206" cy="863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que 2" descr="Base de données">
            <a:extLst>
              <a:ext uri="{FF2B5EF4-FFF2-40B4-BE49-F238E27FC236}">
                <a16:creationId xmlns:a16="http://schemas.microsoft.com/office/drawing/2014/main" id="{512CA596-A16E-493C-AF52-1D6DFD7954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95436" y="2928960"/>
            <a:ext cx="1604205" cy="160420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FC10DC4-69FB-4647-B771-BEF50465D46F}"/>
              </a:ext>
            </a:extLst>
          </p:cNvPr>
          <p:cNvSpPr txBox="1"/>
          <p:nvPr/>
        </p:nvSpPr>
        <p:spPr>
          <a:xfrm>
            <a:off x="8154985" y="4533165"/>
            <a:ext cx="10851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Datasets</a:t>
            </a:r>
          </a:p>
        </p:txBody>
      </p: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15D96A07-668D-4F57-92AE-0BC3C2840A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141" y="5534026"/>
            <a:ext cx="952500" cy="952500"/>
          </a:xfrm>
          <a:prstGeom prst="rect">
            <a:avLst/>
          </a:prstGeom>
        </p:spPr>
      </p:pic>
      <p:pic>
        <p:nvPicPr>
          <p:cNvPr id="7" name="Image 6" descr="Une image contenant texte, signe, trousse de secours&#10;&#10;Description générée automatiquement">
            <a:extLst>
              <a:ext uri="{FF2B5EF4-FFF2-40B4-BE49-F238E27FC236}">
                <a16:creationId xmlns:a16="http://schemas.microsoft.com/office/drawing/2014/main" id="{F67CEA08-583B-443E-8633-267408129B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269" y="5171391"/>
            <a:ext cx="1174663" cy="117466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C60D5111-417F-4AA2-83DA-1985950E78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535" y="3554552"/>
            <a:ext cx="1334235" cy="133423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773FD19-FA32-4D9D-9089-5C30983EA5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7489" y="1862018"/>
            <a:ext cx="1174664" cy="1174664"/>
          </a:xfrm>
          <a:prstGeom prst="rect">
            <a:avLst/>
          </a:prstGeom>
        </p:spPr>
      </p:pic>
      <p:pic>
        <p:nvPicPr>
          <p:cNvPr id="16" name="Image 15" descr="Une image contenant graphiques vectoriels&#10;&#10;Description générée automatiquement">
            <a:extLst>
              <a:ext uri="{FF2B5EF4-FFF2-40B4-BE49-F238E27FC236}">
                <a16:creationId xmlns:a16="http://schemas.microsoft.com/office/drawing/2014/main" id="{7CD2E3F0-40BE-4793-9DAD-B05A55CDB8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263" y="5557170"/>
            <a:ext cx="952501" cy="95250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4FA6555-DDA8-4766-AD5E-B9953A99D2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207" y="4256970"/>
            <a:ext cx="952500" cy="9525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A584C4CB-351C-48E7-A0AB-37BD5F16142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306" y="1716603"/>
            <a:ext cx="2324835" cy="232483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DDD3899D-25B2-45EA-B31C-59A52832FD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13" y="4943136"/>
            <a:ext cx="952501" cy="95250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DEF956B1-2045-4BCC-A9FA-E5611E72FCF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672" y="4621491"/>
            <a:ext cx="889318" cy="1175958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FDA6F7DF-BEE5-4FA2-A0A5-6EFFCD39FD6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1" y="2574385"/>
            <a:ext cx="1174664" cy="1174664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415310B5-5AA2-4137-9510-F03F4169A75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85" y="5350626"/>
            <a:ext cx="1515581" cy="952501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F7B0F2DA-5095-48F1-B3B5-DBBA4B03874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571" y="3847216"/>
            <a:ext cx="1273176" cy="954882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15D35D02-6EF0-4E49-95A8-9AC46ABC54C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5287" y="5793020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95219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D29A2C9-79A7-4F62-9276-C49497DB9C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890" y="1882013"/>
            <a:ext cx="6466863" cy="463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71862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F99D571-0FA5-49C8-B9D5-448824DF0C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3471" y="1939904"/>
            <a:ext cx="6221702" cy="211882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EFEC186-2F1E-4E46-A7CC-630857CA24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2934" y="4685385"/>
            <a:ext cx="6962775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111179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4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E4AF8F-CCBB-436C-9464-C73D993423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9905" y="2030529"/>
            <a:ext cx="6008834" cy="403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08448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026832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D8B3DA9-1573-479E-977F-250A0CB7D7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6466" y="1862372"/>
            <a:ext cx="9730501" cy="3491385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20426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Listing des heures</a:t>
            </a:r>
          </a:p>
        </p:txBody>
      </p:sp>
    </p:spTree>
    <p:extLst>
      <p:ext uri="{BB962C8B-B14F-4D97-AF65-F5344CB8AC3E}">
        <p14:creationId xmlns:p14="http://schemas.microsoft.com/office/powerpoint/2010/main" val="283920665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600440" y="1456810"/>
            <a:ext cx="2032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Objectifs livrables</a:t>
            </a:r>
          </a:p>
        </p:txBody>
      </p:sp>
      <p:graphicFrame>
        <p:nvGraphicFramePr>
          <p:cNvPr id="16" name="Value Chain with Textboxes">
            <a:extLst>
              <a:ext uri="{FF2B5EF4-FFF2-40B4-BE49-F238E27FC236}">
                <a16:creationId xmlns:a16="http://schemas.microsoft.com/office/drawing/2014/main" id="{84762EA5-685E-4578-8326-7A6A9FD1E90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043800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itle">
            <a:extLst>
              <a:ext uri="{FF2B5EF4-FFF2-40B4-BE49-F238E27FC236}">
                <a16:creationId xmlns:a16="http://schemas.microsoft.com/office/drawing/2014/main" id="{F3C5EF6E-031D-4FA5-9281-43503134725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D22DEFA-CC10-4508-A8FD-5C34F49F09D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F3DC14B1-04AC-4638-887D-6CAA6155BF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57C21F7A-7167-4AEB-918F-E6261B704B7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</p:spTree>
    <p:extLst>
      <p:ext uri="{BB962C8B-B14F-4D97-AF65-F5344CB8AC3E}">
        <p14:creationId xmlns:p14="http://schemas.microsoft.com/office/powerpoint/2010/main" val="3126323699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999922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848259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899346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5089260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4156168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3142963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2164563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2049699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796402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8590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805516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7423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2001175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661230" y="2079772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Vaton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(JV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16488" y="2870313"/>
            <a:ext cx="2875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athan Moussu (NMO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4003247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507783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</p:spTree>
    <p:extLst>
      <p:ext uri="{BB962C8B-B14F-4D97-AF65-F5344CB8AC3E}">
        <p14:creationId xmlns:p14="http://schemas.microsoft.com/office/powerpoint/2010/main" val="3613019942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769217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617554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668641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4858555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3925463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2912258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1933858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1818994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565697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6283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574811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5116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1770470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722452" y="1933576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Vaton (JVA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56746" y="2906300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3923499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4847132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77F47E2B-FD9A-4853-B9E4-07D18B4D9BC0}"/>
              </a:ext>
            </a:extLst>
          </p:cNvPr>
          <p:cNvCxnSpPr>
            <a:cxnSpLocks/>
          </p:cNvCxnSpPr>
          <p:nvPr/>
        </p:nvCxnSpPr>
        <p:spPr>
          <a:xfrm>
            <a:off x="6571070" y="2668641"/>
            <a:ext cx="0" cy="34909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20643C15-C6BB-4E7A-86B7-9031C8036ECC}"/>
              </a:ext>
            </a:extLst>
          </p:cNvPr>
          <p:cNvCxnSpPr>
            <a:cxnSpLocks/>
          </p:cNvCxnSpPr>
          <p:nvPr/>
        </p:nvCxnSpPr>
        <p:spPr>
          <a:xfrm>
            <a:off x="2517791" y="6159605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52F32284-9237-4BEC-B83F-0AA8E467F07C}"/>
              </a:ext>
            </a:extLst>
          </p:cNvPr>
          <p:cNvSpPr txBox="1"/>
          <p:nvPr/>
        </p:nvSpPr>
        <p:spPr>
          <a:xfrm>
            <a:off x="6656746" y="560560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pic>
        <p:nvPicPr>
          <p:cNvPr id="4" name="Graphique 3" descr="Document">
            <a:extLst>
              <a:ext uri="{FF2B5EF4-FFF2-40B4-BE49-F238E27FC236}">
                <a16:creationId xmlns:a16="http://schemas.microsoft.com/office/drawing/2014/main" id="{E89345BF-63CB-4DB3-947E-7DD361AD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38451" y="5591069"/>
            <a:ext cx="509833" cy="509833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BBDC852-108A-4A60-B4FF-3DE28EC51704}"/>
              </a:ext>
            </a:extLst>
          </p:cNvPr>
          <p:cNvSpPr txBox="1"/>
          <p:nvPr/>
        </p:nvSpPr>
        <p:spPr>
          <a:xfrm>
            <a:off x="3734564" y="56056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é de texte</a:t>
            </a:r>
          </a:p>
        </p:txBody>
      </p:sp>
    </p:spTree>
    <p:extLst>
      <p:ext uri="{BB962C8B-B14F-4D97-AF65-F5344CB8AC3E}">
        <p14:creationId xmlns:p14="http://schemas.microsoft.com/office/powerpoint/2010/main" val="1164036152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46F6DA04-1AD5-478E-BF2E-41CE0EAA3E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3460" y="3516091"/>
            <a:ext cx="666597" cy="6707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5CDAC73B-A811-4331-95F7-35E92196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606" y="4364428"/>
            <a:ext cx="851334" cy="851334"/>
          </a:xfrm>
          <a:prstGeom prst="rect">
            <a:avLst/>
          </a:prstGeom>
        </p:spPr>
      </p:pic>
      <p:pic>
        <p:nvPicPr>
          <p:cNvPr id="43" name="Image 42" descr="Une image contenant objet&#10;&#10;Description générée automatiquement">
            <a:extLst>
              <a:ext uri="{FF2B5EF4-FFF2-40B4-BE49-F238E27FC236}">
                <a16:creationId xmlns:a16="http://schemas.microsoft.com/office/drawing/2014/main" id="{D1904DD0-DCAE-4027-B9DE-E93742593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230" y="2515713"/>
            <a:ext cx="714278" cy="714278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11481615-3905-419F-8083-1961C81E6EDF}"/>
              </a:ext>
            </a:extLst>
          </p:cNvPr>
          <p:cNvSpPr txBox="1"/>
          <p:nvPr/>
        </p:nvSpPr>
        <p:spPr>
          <a:xfrm>
            <a:off x="3547365" y="4447973"/>
            <a:ext cx="1475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7ACF0A4B-8EEF-4F54-93B6-FE5A33BB964E}"/>
              </a:ext>
            </a:extLst>
          </p:cNvPr>
          <p:cNvSpPr txBox="1"/>
          <p:nvPr/>
        </p:nvSpPr>
        <p:spPr>
          <a:xfrm>
            <a:off x="3431650" y="3537282"/>
            <a:ext cx="1657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A8C5ACCB-D2F2-4042-A24E-273ED090597A}"/>
              </a:ext>
            </a:extLst>
          </p:cNvPr>
          <p:cNvSpPr txBox="1"/>
          <p:nvPr/>
        </p:nvSpPr>
        <p:spPr>
          <a:xfrm>
            <a:off x="3434397" y="2541207"/>
            <a:ext cx="15869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92BF5521-BA5D-4848-BBF9-F87305FDF982}"/>
              </a:ext>
            </a:extLst>
          </p:cNvPr>
          <p:cNvSpPr txBox="1"/>
          <p:nvPr/>
        </p:nvSpPr>
        <p:spPr>
          <a:xfrm>
            <a:off x="3406572" y="1579337"/>
            <a:ext cx="1651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1201528-BD4F-4F8E-8EF6-2B7AAEEC13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78FD91B5-62A3-424A-A794-4A5A6601A3BD}"/>
              </a:ext>
            </a:extLst>
          </p:cNvPr>
          <p:cNvCxnSpPr>
            <a:cxnSpLocks/>
          </p:cNvCxnSpPr>
          <p:nvPr/>
        </p:nvCxnSpPr>
        <p:spPr>
          <a:xfrm>
            <a:off x="2349563" y="2312571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70C928D2-7F2D-4094-A4C8-AA67541829C4}"/>
              </a:ext>
            </a:extLst>
          </p:cNvPr>
          <p:cNvCxnSpPr>
            <a:cxnSpLocks/>
          </p:cNvCxnSpPr>
          <p:nvPr/>
        </p:nvCxnSpPr>
        <p:spPr>
          <a:xfrm>
            <a:off x="2349563" y="33752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B8BB1A88-D17F-409A-AC48-7ED22145EF1E}"/>
              </a:ext>
            </a:extLst>
          </p:cNvPr>
          <p:cNvCxnSpPr>
            <a:cxnSpLocks/>
          </p:cNvCxnSpPr>
          <p:nvPr/>
        </p:nvCxnSpPr>
        <p:spPr>
          <a:xfrm>
            <a:off x="2349563" y="432168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5CC717-43CE-47BD-9019-CD1C1FE9E759}"/>
              </a:ext>
            </a:extLst>
          </p:cNvPr>
          <p:cNvCxnSpPr>
            <a:cxnSpLocks/>
          </p:cNvCxnSpPr>
          <p:nvPr/>
        </p:nvCxnSpPr>
        <p:spPr>
          <a:xfrm>
            <a:off x="2349563" y="52585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0DCF5B97-8866-471B-82AC-30182B67EF2F}"/>
              </a:ext>
            </a:extLst>
          </p:cNvPr>
          <p:cNvCxnSpPr>
            <a:cxnSpLocks/>
          </p:cNvCxnSpPr>
          <p:nvPr/>
        </p:nvCxnSpPr>
        <p:spPr>
          <a:xfrm>
            <a:off x="5150840" y="1504624"/>
            <a:ext cx="0" cy="4402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B2A50477-7AA9-412A-BC1A-1C984A73074B}"/>
              </a:ext>
            </a:extLst>
          </p:cNvPr>
          <p:cNvSpPr txBox="1"/>
          <p:nvPr/>
        </p:nvSpPr>
        <p:spPr>
          <a:xfrm>
            <a:off x="5200094" y="1565868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0D7D02AE-FDD7-4685-BE45-07972AE354C9}"/>
              </a:ext>
            </a:extLst>
          </p:cNvPr>
          <p:cNvSpPr txBox="1"/>
          <p:nvPr/>
        </p:nvSpPr>
        <p:spPr>
          <a:xfrm>
            <a:off x="5189599" y="2689297"/>
            <a:ext cx="4894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termination du thème d’un texte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426AECAF-87F3-429D-B4D6-CCA259544776}"/>
              </a:ext>
            </a:extLst>
          </p:cNvPr>
          <p:cNvSpPr txBox="1"/>
          <p:nvPr/>
        </p:nvSpPr>
        <p:spPr>
          <a:xfrm>
            <a:off x="5226108" y="3382935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DB0000D0-9A32-431D-9A8D-A07B1F75D263}"/>
              </a:ext>
            </a:extLst>
          </p:cNvPr>
          <p:cNvSpPr txBox="1"/>
          <p:nvPr/>
        </p:nvSpPr>
        <p:spPr>
          <a:xfrm>
            <a:off x="5235749" y="4391577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B361C5F-FBF0-4F69-8172-D9E4C1E5270A}"/>
              </a:ext>
            </a:extLst>
          </p:cNvPr>
          <p:cNvCxnSpPr>
            <a:cxnSpLocks/>
          </p:cNvCxnSpPr>
          <p:nvPr/>
        </p:nvCxnSpPr>
        <p:spPr>
          <a:xfrm>
            <a:off x="10494269" y="1487271"/>
            <a:ext cx="8302" cy="44199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Image 61">
            <a:extLst>
              <a:ext uri="{FF2B5EF4-FFF2-40B4-BE49-F238E27FC236}">
                <a16:creationId xmlns:a16="http://schemas.microsoft.com/office/drawing/2014/main" id="{D883FB91-385C-498A-8E44-DBBA732638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4586385E-73B2-41CA-A69D-06DB5AEBFD98}"/>
              </a:ext>
            </a:extLst>
          </p:cNvPr>
          <p:cNvCxnSpPr>
            <a:cxnSpLocks/>
          </p:cNvCxnSpPr>
          <p:nvPr/>
        </p:nvCxnSpPr>
        <p:spPr>
          <a:xfrm>
            <a:off x="11787177" y="1517344"/>
            <a:ext cx="0" cy="4389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349563" y="976080"/>
            <a:ext cx="24546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onse aux objectifs</a:t>
            </a:r>
          </a:p>
        </p:txBody>
      </p:sp>
      <p:pic>
        <p:nvPicPr>
          <p:cNvPr id="5" name="Graphique 4" descr="Coche">
            <a:extLst>
              <a:ext uri="{FF2B5EF4-FFF2-40B4-BE49-F238E27FC236}">
                <a16:creationId xmlns:a16="http://schemas.microsoft.com/office/drawing/2014/main" id="{A2435DCC-1C36-4AB3-B0BE-CA1756954D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4641" y="4333817"/>
            <a:ext cx="554019" cy="554019"/>
          </a:xfrm>
          <a:prstGeom prst="rect">
            <a:avLst/>
          </a:prstGeom>
        </p:spPr>
      </p:pic>
      <p:pic>
        <p:nvPicPr>
          <p:cNvPr id="66" name="Graphique 65" descr="Coche">
            <a:extLst>
              <a:ext uri="{FF2B5EF4-FFF2-40B4-BE49-F238E27FC236}">
                <a16:creationId xmlns:a16="http://schemas.microsoft.com/office/drawing/2014/main" id="{0A461D5D-D868-4744-8735-666236C11E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81565" y="3561565"/>
            <a:ext cx="554019" cy="554019"/>
          </a:xfrm>
          <a:prstGeom prst="rect">
            <a:avLst/>
          </a:prstGeom>
        </p:spPr>
      </p:pic>
      <p:pic>
        <p:nvPicPr>
          <p:cNvPr id="67" name="Graphique 66" descr="Coche">
            <a:extLst>
              <a:ext uri="{FF2B5EF4-FFF2-40B4-BE49-F238E27FC236}">
                <a16:creationId xmlns:a16="http://schemas.microsoft.com/office/drawing/2014/main" id="{5DDC24F0-881B-43F6-872B-AECF1E0F30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4641" y="2423140"/>
            <a:ext cx="554019" cy="554019"/>
          </a:xfrm>
          <a:prstGeom prst="rect">
            <a:avLst/>
          </a:prstGeom>
        </p:spPr>
      </p:pic>
      <p:pic>
        <p:nvPicPr>
          <p:cNvPr id="68" name="Graphique 67" descr="Coche">
            <a:extLst>
              <a:ext uri="{FF2B5EF4-FFF2-40B4-BE49-F238E27FC236}">
                <a16:creationId xmlns:a16="http://schemas.microsoft.com/office/drawing/2014/main" id="{8A3DF2D0-B553-40FE-9D23-48BC8180D0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8925" y="1498452"/>
            <a:ext cx="554019" cy="554019"/>
          </a:xfrm>
          <a:prstGeom prst="rect">
            <a:avLst/>
          </a:prstGeom>
        </p:spPr>
      </p:pic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03932896-3607-4930-B258-9A6652597FBD}"/>
              </a:ext>
            </a:extLst>
          </p:cNvPr>
          <p:cNvCxnSpPr>
            <a:cxnSpLocks/>
          </p:cNvCxnSpPr>
          <p:nvPr/>
        </p:nvCxnSpPr>
        <p:spPr>
          <a:xfrm flipV="1">
            <a:off x="2324162" y="5907227"/>
            <a:ext cx="945075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F81C78EA-D974-43BD-A060-CBCD7AF72C07}"/>
              </a:ext>
            </a:extLst>
          </p:cNvPr>
          <p:cNvSpPr txBox="1"/>
          <p:nvPr/>
        </p:nvSpPr>
        <p:spPr>
          <a:xfrm>
            <a:off x="5235748" y="5235663"/>
            <a:ext cx="5012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le texte en affichant les phrases les plus importante</a:t>
            </a:r>
          </a:p>
        </p:txBody>
      </p:sp>
      <p:pic>
        <p:nvPicPr>
          <p:cNvPr id="72" name="Graphique 71" descr="Document">
            <a:extLst>
              <a:ext uri="{FF2B5EF4-FFF2-40B4-BE49-F238E27FC236}">
                <a16:creationId xmlns:a16="http://schemas.microsoft.com/office/drawing/2014/main" id="{980A6755-68D2-434D-BA73-88237B2711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44822" y="5338692"/>
            <a:ext cx="509833" cy="509833"/>
          </a:xfrm>
          <a:prstGeom prst="rect">
            <a:avLst/>
          </a:prstGeom>
        </p:spPr>
      </p:pic>
      <p:sp>
        <p:nvSpPr>
          <p:cNvPr id="73" name="ZoneTexte 72">
            <a:extLst>
              <a:ext uri="{FF2B5EF4-FFF2-40B4-BE49-F238E27FC236}">
                <a16:creationId xmlns:a16="http://schemas.microsoft.com/office/drawing/2014/main" id="{A5A519FC-ED28-4EFA-8E8B-8EF27E8B0D2D}"/>
              </a:ext>
            </a:extLst>
          </p:cNvPr>
          <p:cNvSpPr txBox="1"/>
          <p:nvPr/>
        </p:nvSpPr>
        <p:spPr>
          <a:xfrm>
            <a:off x="3653605" y="5235663"/>
            <a:ext cx="126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é de texte</a:t>
            </a:r>
          </a:p>
        </p:txBody>
      </p:sp>
      <p:pic>
        <p:nvPicPr>
          <p:cNvPr id="76" name="Graphique 75" descr="Coche">
            <a:extLst>
              <a:ext uri="{FF2B5EF4-FFF2-40B4-BE49-F238E27FC236}">
                <a16:creationId xmlns:a16="http://schemas.microsoft.com/office/drawing/2014/main" id="{14F51F23-F977-4DBC-A671-492BCBD0AF0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908779" y="5296625"/>
            <a:ext cx="604796" cy="604796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1FED8DB-0416-4A2B-96A3-6C8E390B2B7C}"/>
              </a:ext>
            </a:extLst>
          </p:cNvPr>
          <p:cNvSpPr txBox="1"/>
          <p:nvPr/>
        </p:nvSpPr>
        <p:spPr>
          <a:xfrm>
            <a:off x="10863112" y="1963838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84%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C7AD92C6-16AE-4BBF-A45C-AD9D6A42ED48}"/>
              </a:ext>
            </a:extLst>
          </p:cNvPr>
          <p:cNvSpPr txBox="1"/>
          <p:nvPr/>
        </p:nvSpPr>
        <p:spPr>
          <a:xfrm>
            <a:off x="10825542" y="4803397"/>
            <a:ext cx="6960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98,5%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9990016A-D514-4090-9671-77FE2C8432A5}"/>
              </a:ext>
            </a:extLst>
          </p:cNvPr>
          <p:cNvSpPr txBox="1"/>
          <p:nvPr/>
        </p:nvSpPr>
        <p:spPr>
          <a:xfrm>
            <a:off x="10867650" y="2930519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80%</a:t>
            </a:r>
          </a:p>
        </p:txBody>
      </p:sp>
    </p:spTree>
    <p:extLst>
      <p:ext uri="{BB962C8B-B14F-4D97-AF65-F5344CB8AC3E}">
        <p14:creationId xmlns:p14="http://schemas.microsoft.com/office/powerpoint/2010/main" val="103741468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3D120F2-7847-46E3-B223-0E289585DC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843315" y="306413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753597" y="297137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000137F-7641-44FD-B7E7-A418133DE2AA}"/>
              </a:ext>
            </a:extLst>
          </p:cNvPr>
          <p:cNvSpPr txBox="1"/>
          <p:nvPr/>
        </p:nvSpPr>
        <p:spPr>
          <a:xfrm>
            <a:off x="2026067" y="3358387"/>
            <a:ext cx="44946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E01B1F-4900-4D35-8B1E-D4268588A928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B9555EF-96A8-43FB-823A-72FFC289188C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7706575-FAD3-4F24-A167-69085FDD6905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552763767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545833" y="1200725"/>
            <a:ext cx="50365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bg1"/>
                </a:solidFill>
              </a:rPr>
              <a:t>Faiblesses, point à améliorer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C1937936-00EA-4A06-A3F5-419E16BD4765}"/>
              </a:ext>
            </a:extLst>
          </p:cNvPr>
          <p:cNvSpPr txBox="1"/>
          <p:nvPr/>
        </p:nvSpPr>
        <p:spPr>
          <a:xfrm>
            <a:off x="2995945" y="2077888"/>
            <a:ext cx="501768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erreurs d’orthographes</a:t>
            </a:r>
          </a:p>
          <a:p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synonymes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’ironie, les figures de style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eu de dataset disponibles</a:t>
            </a:r>
          </a:p>
          <a:p>
            <a:pPr marL="457200" indent="-457200">
              <a:buFontTx/>
              <a:buChar char="-"/>
            </a:pPr>
            <a:endParaRPr lang="fr-FR" sz="2800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78676710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Personnel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D0582006-138F-42A4-BE83-56C7EBBF8444}"/>
              </a:ext>
            </a:extLst>
          </p:cNvPr>
          <p:cNvSpPr txBox="1"/>
          <p:nvPr/>
        </p:nvSpPr>
        <p:spPr>
          <a:xfrm>
            <a:off x="3505521" y="1275767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orts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F71849B8-CDC6-4C6C-AE1D-FA8223B75FC7}"/>
              </a:ext>
            </a:extLst>
          </p:cNvPr>
          <p:cNvSpPr txBox="1"/>
          <p:nvPr/>
        </p:nvSpPr>
        <p:spPr>
          <a:xfrm>
            <a:off x="2657791" y="1968508"/>
            <a:ext cx="399509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hoix des technologies adaptées à la réalisation du projet</a:t>
            </a:r>
            <a:b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</a:b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Bonne autonomie dans le proje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Implication dans le projet 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    (710 heures au total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utoformations fréquentes (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Udemy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Openclassroom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livre etc…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lication disponible sur l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ithub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avec tutoriel d’installation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3C0FDB78-C3F7-4C98-9ED8-00E616810A68}"/>
              </a:ext>
            </a:extLst>
          </p:cNvPr>
          <p:cNvSpPr txBox="1"/>
          <p:nvPr/>
        </p:nvSpPr>
        <p:spPr>
          <a:xfrm>
            <a:off x="8107423" y="1258989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aibles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0D0BA60A-FC20-4EBF-9C12-6409BD040CF3}"/>
              </a:ext>
            </a:extLst>
          </p:cNvPr>
          <p:cNvSpPr txBox="1"/>
          <p:nvPr/>
        </p:nvSpPr>
        <p:spPr>
          <a:xfrm>
            <a:off x="7542135" y="1999571"/>
            <a:ext cx="39950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upture de cohésion du groupe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anque de connaissance concernant le fonctionnement des classifieurs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réaliser tout les tests dans les règles de l’ar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développer une interface graphique (facultatif dans le CDC)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D071A642-67AC-4BF0-B003-A10062583EB4}"/>
              </a:ext>
            </a:extLst>
          </p:cNvPr>
          <p:cNvCxnSpPr/>
          <p:nvPr/>
        </p:nvCxnSpPr>
        <p:spPr>
          <a:xfrm>
            <a:off x="6887362" y="1212956"/>
            <a:ext cx="0" cy="53941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530753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Remerciement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1302FD-F6BC-4AA1-9040-474BD56B3EA2}"/>
              </a:ext>
            </a:extLst>
          </p:cNvPr>
          <p:cNvSpPr/>
          <p:nvPr/>
        </p:nvSpPr>
        <p:spPr>
          <a:xfrm>
            <a:off x="3048000" y="1997839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Vincent Vidal</a:t>
            </a:r>
          </a:p>
          <a:p>
            <a:pPr algn="ctr"/>
            <a:endParaRPr lang="fr-FR" sz="2800" b="1" dirty="0">
              <a:solidFill>
                <a:schemeClr val="bg1"/>
              </a:solidFill>
            </a:endParaRPr>
          </a:p>
          <a:p>
            <a:pPr algn="ctr"/>
            <a:r>
              <a:rPr lang="fr-FR" sz="2800" b="1" dirty="0">
                <a:solidFill>
                  <a:schemeClr val="bg1"/>
                </a:solidFill>
              </a:rPr>
              <a:t>Pierre-Antoine Champin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C01B73-5403-4485-8D2D-9D833DEC9111}"/>
              </a:ext>
            </a:extLst>
          </p:cNvPr>
          <p:cNvSpPr/>
          <p:nvPr/>
        </p:nvSpPr>
        <p:spPr>
          <a:xfrm>
            <a:off x="4428701" y="5019641"/>
            <a:ext cx="4811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eremyL71/ProjetTextMining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ADDC6EA-484A-40B3-A072-4086CC6E9270}"/>
              </a:ext>
            </a:extLst>
          </p:cNvPr>
          <p:cNvSpPr txBox="1"/>
          <p:nvPr/>
        </p:nvSpPr>
        <p:spPr>
          <a:xfrm>
            <a:off x="3169343" y="5010054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GitHub:</a:t>
            </a:r>
          </a:p>
        </p:txBody>
      </p:sp>
    </p:spTree>
    <p:extLst>
      <p:ext uri="{BB962C8B-B14F-4D97-AF65-F5344CB8AC3E}">
        <p14:creationId xmlns:p14="http://schemas.microsoft.com/office/powerpoint/2010/main" val="1399211825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819A2C05-3F0F-4D18-821D-DC3430959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615083" y="465470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525365" y="456194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CDE67E9-9F2B-41A8-A749-FE96BECF7CF1}"/>
              </a:ext>
            </a:extLst>
          </p:cNvPr>
          <p:cNvSpPr txBox="1"/>
          <p:nvPr/>
        </p:nvSpPr>
        <p:spPr>
          <a:xfrm>
            <a:off x="1782654" y="4890510"/>
            <a:ext cx="12121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5BF97F4-BC20-4388-859B-D7982D4DCB07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FFFDA8A-11D0-493B-AFA7-BBBBFA55697E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07668D-9913-4510-8FC6-1ED413BC79D4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41941791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281921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Ã©sultat de recherche d'images pour &quot;big data&quot;">
            <a:extLst>
              <a:ext uri="{FF2B5EF4-FFF2-40B4-BE49-F238E27FC236}">
                <a16:creationId xmlns:a16="http://schemas.microsoft.com/office/drawing/2014/main" id="{412D8DEC-D2AB-4955-9D0B-68EC1B462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792" y="2103527"/>
            <a:ext cx="7934036" cy="385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6899564" y="1172222"/>
            <a:ext cx="49449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es milliards de données à traiter chaque jour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51EE2BE-96C3-44CC-B232-8A6A3E0A9322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1ED8178D-342E-4D91-A950-C730A22D5929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5278370-558D-4AED-9243-1CB0CBB90E2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6F86B8AF-9A4C-4533-A9AE-CFA392FBFFFB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C00000"/>
                </a:solidFill>
              </a:rPr>
              <a:t>1/ </a:t>
            </a:r>
            <a:r>
              <a:rPr lang="fr-FR" sz="1000" b="1" u="sng" dirty="0">
                <a:solidFill>
                  <a:srgbClr val="C0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rgbClr val="C0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C00000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C9D107-B263-4F16-8A44-6FCFBB9426F3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53B04E-DDC2-46CB-A807-B49E3203FE06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36293107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670628" y="1269191"/>
            <a:ext cx="7023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mment automatiser les taches nécessitant une lecture ? </a:t>
            </a:r>
          </a:p>
        </p:txBody>
      </p:sp>
      <p:pic>
        <p:nvPicPr>
          <p:cNvPr id="16" name="Picture 4" descr="RÃ©sultat de recherche d'images pour &quot;website&quot;">
            <a:extLst>
              <a:ext uri="{FF2B5EF4-FFF2-40B4-BE49-F238E27FC236}">
                <a16:creationId xmlns:a16="http://schemas.microsoft.com/office/drawing/2014/main" id="{D2ADB28A-68C2-4AB1-B78B-7170F8121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4011">
            <a:off x="4067759" y="3227276"/>
            <a:ext cx="4228911" cy="311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1C5D9D1C-811B-4CC8-AEB5-88FC4C8427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930" y="3877323"/>
            <a:ext cx="2320478" cy="2320478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950C588C-92C8-407C-8B5B-B8CDEEC38406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372B17B-39E4-409C-B04E-CF984622868F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96D524-D126-4B02-8A4F-1BEB235DCBBF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47154213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030143" y="925981"/>
            <a:ext cx="10161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otre objectif: </a:t>
            </a:r>
          </a:p>
          <a:p>
            <a:pPr algn="r"/>
            <a:r>
              <a:rPr lang="fr-FR" sz="24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velopper des applications qui automatisent certaines taches fastidieuses 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Image 33">
            <a:extLst>
              <a:ext uri="{FF2B5EF4-FFF2-40B4-BE49-F238E27FC236}">
                <a16:creationId xmlns:a16="http://schemas.microsoft.com/office/drawing/2014/main" id="{3A6A0D9E-D167-48CE-8CEE-6B7ED77E2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55428" y="4371769"/>
            <a:ext cx="666597" cy="670792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13B80AF1-2FB5-4B3A-B2B9-3EBFDCCD7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574" y="5220106"/>
            <a:ext cx="851334" cy="851334"/>
          </a:xfrm>
          <a:prstGeom prst="rect">
            <a:avLst/>
          </a:prstGeom>
        </p:spPr>
      </p:pic>
      <p:pic>
        <p:nvPicPr>
          <p:cNvPr id="36" name="Image 35" descr="Une image contenant objet&#10;&#10;Description générée automatiquement">
            <a:extLst>
              <a:ext uri="{FF2B5EF4-FFF2-40B4-BE49-F238E27FC236}">
                <a16:creationId xmlns:a16="http://schemas.microsoft.com/office/drawing/2014/main" id="{2C903CEE-7B7C-46EC-AB29-C2492CEEEF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198" y="3371391"/>
            <a:ext cx="714278" cy="714278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35D255BD-CEA3-4C83-9553-6E23D5475282}"/>
              </a:ext>
            </a:extLst>
          </p:cNvPr>
          <p:cNvSpPr txBox="1"/>
          <p:nvPr/>
        </p:nvSpPr>
        <p:spPr>
          <a:xfrm>
            <a:off x="3666053" y="54611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4255B6B1-CA42-4579-B324-368C8DA5F456}"/>
              </a:ext>
            </a:extLst>
          </p:cNvPr>
          <p:cNvSpPr txBox="1"/>
          <p:nvPr/>
        </p:nvSpPr>
        <p:spPr>
          <a:xfrm>
            <a:off x="2942297" y="4528015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EACD1968-6C1B-4112-9EB3-18A232749CF8}"/>
              </a:ext>
            </a:extLst>
          </p:cNvPr>
          <p:cNvSpPr txBox="1"/>
          <p:nvPr/>
        </p:nvSpPr>
        <p:spPr>
          <a:xfrm>
            <a:off x="3351724" y="3514810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96BCDBD-D46C-4525-836D-13CC633D298F}"/>
              </a:ext>
            </a:extLst>
          </p:cNvPr>
          <p:cNvSpPr txBox="1"/>
          <p:nvPr/>
        </p:nvSpPr>
        <p:spPr>
          <a:xfrm>
            <a:off x="3319245" y="2536410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3419290C-A622-4E58-A446-2181F8EFC9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5E4D69E5-BD4D-4E9C-A41D-EBF3B1EBC7FF}"/>
              </a:ext>
            </a:extLst>
          </p:cNvPr>
          <p:cNvCxnSpPr>
            <a:cxnSpLocks/>
          </p:cNvCxnSpPr>
          <p:nvPr/>
        </p:nvCxnSpPr>
        <p:spPr>
          <a:xfrm>
            <a:off x="2491531" y="3168249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066E9922-775A-43D4-9EE8-214C3806B3C4}"/>
              </a:ext>
            </a:extLst>
          </p:cNvPr>
          <p:cNvCxnSpPr>
            <a:cxnSpLocks/>
          </p:cNvCxnSpPr>
          <p:nvPr/>
        </p:nvCxnSpPr>
        <p:spPr>
          <a:xfrm>
            <a:off x="2491531" y="42308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E5C6F671-ED7A-48C4-8326-92C699098956}"/>
              </a:ext>
            </a:extLst>
          </p:cNvPr>
          <p:cNvCxnSpPr>
            <a:cxnSpLocks/>
          </p:cNvCxnSpPr>
          <p:nvPr/>
        </p:nvCxnSpPr>
        <p:spPr>
          <a:xfrm>
            <a:off x="2491531" y="517736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BFF3A9F4-B815-4A8F-BB5A-627207C1F0BF}"/>
              </a:ext>
            </a:extLst>
          </p:cNvPr>
          <p:cNvCxnSpPr>
            <a:cxnSpLocks/>
          </p:cNvCxnSpPr>
          <p:nvPr/>
        </p:nvCxnSpPr>
        <p:spPr>
          <a:xfrm>
            <a:off x="2491531" y="61141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AE44E053-AB04-4F3F-AA11-691BF1D8AB4F}"/>
              </a:ext>
            </a:extLst>
          </p:cNvPr>
          <p:cNvCxnSpPr>
            <a:cxnSpLocks/>
          </p:cNvCxnSpPr>
          <p:nvPr/>
        </p:nvCxnSpPr>
        <p:spPr>
          <a:xfrm>
            <a:off x="6544811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2D912A38-C66E-4091-A883-D3483409D104}"/>
              </a:ext>
            </a:extLst>
          </p:cNvPr>
          <p:cNvSpPr txBox="1"/>
          <p:nvPr/>
        </p:nvSpPr>
        <p:spPr>
          <a:xfrm>
            <a:off x="6634970" y="2451619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6629F339-A426-40A9-BC1D-39430D2296B0}"/>
              </a:ext>
            </a:extLst>
          </p:cNvPr>
          <p:cNvSpPr txBox="1"/>
          <p:nvPr/>
        </p:nvSpPr>
        <p:spPr>
          <a:xfrm>
            <a:off x="6647549" y="3509049"/>
            <a:ext cx="4894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termination du thème d’un texte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154FAEF9-AC5E-481D-9418-FA6B07DE79DC}"/>
              </a:ext>
            </a:extLst>
          </p:cNvPr>
          <p:cNvSpPr txBox="1"/>
          <p:nvPr/>
        </p:nvSpPr>
        <p:spPr>
          <a:xfrm>
            <a:off x="6660984" y="4268686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156BEC5A-6C69-41F7-96EA-F874444F01CF}"/>
              </a:ext>
            </a:extLst>
          </p:cNvPr>
          <p:cNvSpPr txBox="1"/>
          <p:nvPr/>
        </p:nvSpPr>
        <p:spPr>
          <a:xfrm>
            <a:off x="6670625" y="5277328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9C76CC51-A5CA-42F8-A464-18B24DDE3FCC}"/>
              </a:ext>
            </a:extLst>
          </p:cNvPr>
          <p:cNvCxnSpPr>
            <a:cxnSpLocks/>
          </p:cNvCxnSpPr>
          <p:nvPr/>
        </p:nvCxnSpPr>
        <p:spPr>
          <a:xfrm>
            <a:off x="11929145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Image 57">
            <a:extLst>
              <a:ext uri="{FF2B5EF4-FFF2-40B4-BE49-F238E27FC236}">
                <a16:creationId xmlns:a16="http://schemas.microsoft.com/office/drawing/2014/main" id="{C8CA8CB6-6AC6-4B21-9709-B71AC405D8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sp>
        <p:nvSpPr>
          <p:cNvPr id="59" name="ZoneTexte 58">
            <a:extLst>
              <a:ext uri="{FF2B5EF4-FFF2-40B4-BE49-F238E27FC236}">
                <a16:creationId xmlns:a16="http://schemas.microsoft.com/office/drawing/2014/main" id="{409670C0-35D0-4ABB-A849-C23058CC9E5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C3B5E17-D735-476B-8BE4-794E318ECBB0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F556071-2178-46B1-B067-EAD5E27DC410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73965123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687160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</TotalTime>
  <Words>1478</Words>
  <Application>Microsoft Office PowerPoint</Application>
  <PresentationFormat>Grand écran</PresentationFormat>
  <Paragraphs>640</Paragraphs>
  <Slides>32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Arial Narrow</vt:lpstr>
      <vt:lpstr>Calibri</vt:lpstr>
      <vt:lpstr>Calibri Light</vt:lpstr>
      <vt:lpstr>Cambria Math</vt:lpstr>
      <vt:lpstr>Merck</vt:lpstr>
      <vt:lpstr>Raleway</vt:lpstr>
      <vt:lpstr>Reem Kufi Regular</vt:lpstr>
      <vt:lpstr>Verdana</vt:lpstr>
      <vt:lpstr>Thème Office</vt:lpstr>
      <vt:lpstr>Projet de création d’applications de   Text-mining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emy Laurent</dc:creator>
  <cp:lastModifiedBy>Jeremy Laurent</cp:lastModifiedBy>
  <cp:revision>44</cp:revision>
  <dcterms:created xsi:type="dcterms:W3CDTF">2019-05-13T09:03:13Z</dcterms:created>
  <dcterms:modified xsi:type="dcterms:W3CDTF">2019-06-06T11:06:36Z</dcterms:modified>
</cp:coreProperties>
</file>